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2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3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4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6.xml" ContentType="application/vnd.openxmlformats-officedocument.them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7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1" r:id="rId2"/>
    <p:sldMasterId id="2147483659" r:id="rId3"/>
    <p:sldMasterId id="2147483661" r:id="rId4"/>
    <p:sldMasterId id="2147483663" r:id="rId5"/>
    <p:sldMasterId id="2147483717" r:id="rId6"/>
    <p:sldMasterId id="2147483730" r:id="rId7"/>
    <p:sldMasterId id="2147483743" r:id="rId8"/>
    <p:sldMasterId id="2147483759" r:id="rId9"/>
    <p:sldMasterId id="2147483783" r:id="rId10"/>
    <p:sldMasterId id="2147483795" r:id="rId11"/>
    <p:sldMasterId id="2147483807" r:id="rId12"/>
    <p:sldMasterId id="2147483833" r:id="rId13"/>
    <p:sldMasterId id="2147483857" r:id="rId14"/>
    <p:sldMasterId id="2147483870" r:id="rId15"/>
    <p:sldMasterId id="2147483884" r:id="rId16"/>
    <p:sldMasterId id="2147483920" r:id="rId17"/>
    <p:sldMasterId id="2147483962" r:id="rId18"/>
    <p:sldMasterId id="2147483970" r:id="rId19"/>
  </p:sldMasterIdLst>
  <p:notesMasterIdLst>
    <p:notesMasterId r:id="rId27"/>
  </p:notesMasterIdLst>
  <p:sldIdLst>
    <p:sldId id="1758" r:id="rId20"/>
    <p:sldId id="1762" r:id="rId21"/>
    <p:sldId id="1760" r:id="rId22"/>
    <p:sldId id="1761" r:id="rId23"/>
    <p:sldId id="269" r:id="rId24"/>
    <p:sldId id="270" r:id="rId25"/>
    <p:sldId id="271" r:id="rId26"/>
  </p:sldIdLst>
  <p:sldSz cx="9144000" cy="6858000" type="screen4x3"/>
  <p:notesSz cx="6797675" cy="9926638"/>
  <p:custDataLst>
    <p:tags r:id="rId28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5961FFB-52ED-452A-8189-CD3EE54FDD52}">
          <p14:sldIdLst>
            <p14:sldId id="1758"/>
            <p14:sldId id="1762"/>
            <p14:sldId id="1760"/>
            <p14:sldId id="1761"/>
            <p14:sldId id="269"/>
            <p14:sldId id="270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704" userDrawn="1">
          <p15:clr>
            <a:srgbClr val="A4A3A4"/>
          </p15:clr>
        </p15:guide>
        <p15:guide id="2" pos="3107">
          <p15:clr>
            <a:srgbClr val="A4A3A4"/>
          </p15:clr>
        </p15:guide>
        <p15:guide id="3" pos="2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6" userDrawn="1">
          <p15:clr>
            <a:srgbClr val="A4A3A4"/>
          </p15:clr>
        </p15:guide>
        <p15:guide id="2" pos="2118" userDrawn="1">
          <p15:clr>
            <a:srgbClr val="A4A3A4"/>
          </p15:clr>
        </p15:guide>
        <p15:guide id="3" orient="horz" pos="3129" userDrawn="1">
          <p15:clr>
            <a:srgbClr val="A4A3A4"/>
          </p15:clr>
        </p15:guide>
        <p15:guide id="4" pos="214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s" initials="s" lastIdx="7" clrIdx="0"/>
  <p:cmAuthor id="1" name="Admin" initials="A" lastIdx="0" clrIdx="1"/>
  <p:cmAuthor id="2" name="Помилуйко Ирина Сергеевна" initials="ПИС" lastIdx="1" clrIdx="2">
    <p:extLst>
      <p:ext uri="{19B8F6BF-5375-455C-9EA6-DF929625EA0E}">
        <p15:presenceInfo xmlns:p15="http://schemas.microsoft.com/office/powerpoint/2012/main" userId="S-1-5-21-3119835862-1306673144-2631644997-612053" providerId="AD"/>
      </p:ext>
    </p:extLst>
  </p:cmAuthor>
  <p:cmAuthor id="3" name="Rosatom" initials="R" lastIdx="1" clrIdx="3">
    <p:extLst>
      <p:ext uri="{19B8F6BF-5375-455C-9EA6-DF929625EA0E}">
        <p15:presenceInfo xmlns:p15="http://schemas.microsoft.com/office/powerpoint/2012/main" userId="Rosatom" providerId="None"/>
      </p:ext>
    </p:extLst>
  </p:cmAuthor>
  <p:cmAuthor id="4" name="Титова Елена Сергеевна" initials="ТЕС" lastIdx="1" clrIdx="4">
    <p:extLst>
      <p:ext uri="{19B8F6BF-5375-455C-9EA6-DF929625EA0E}">
        <p15:presenceInfo xmlns:p15="http://schemas.microsoft.com/office/powerpoint/2012/main" userId="Титова Елена Сергеевна" providerId="None"/>
      </p:ext>
    </p:extLst>
  </p:cmAuthor>
  <p:cmAuthor id="5" name="MarkovchinaEV" initials="M" lastIdx="1" clrIdx="5">
    <p:extLst>
      <p:ext uri="{19B8F6BF-5375-455C-9EA6-DF929625EA0E}">
        <p15:presenceInfo xmlns:p15="http://schemas.microsoft.com/office/powerpoint/2012/main" userId="MarkovchinaE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F4FA"/>
    <a:srgbClr val="008E40"/>
    <a:srgbClr val="C9EEFF"/>
    <a:srgbClr val="C9E0FF"/>
    <a:srgbClr val="F0E770"/>
    <a:srgbClr val="A6D86E"/>
    <a:srgbClr val="B9C6FD"/>
    <a:srgbClr val="D7EA76"/>
    <a:srgbClr val="3F4E71"/>
    <a:srgbClr val="2E65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50" autoAdjust="0"/>
    <p:restoredTop sz="96244" autoAdjust="0"/>
  </p:normalViewPr>
  <p:slideViewPr>
    <p:cSldViewPr>
      <p:cViewPr varScale="1">
        <p:scale>
          <a:sx n="114" d="100"/>
          <a:sy n="114" d="100"/>
        </p:scale>
        <p:origin x="1872" y="114"/>
      </p:cViewPr>
      <p:guideLst>
        <p:guide orient="horz" pos="2704"/>
        <p:guide pos="3107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928"/>
    </p:cViewPr>
  </p:sorterViewPr>
  <p:notesViewPr>
    <p:cSldViewPr>
      <p:cViewPr>
        <p:scale>
          <a:sx n="150" d="100"/>
          <a:sy n="150" d="100"/>
        </p:scale>
        <p:origin x="-978" y="3666"/>
      </p:cViewPr>
      <p:guideLst>
        <p:guide orient="horz" pos="3106"/>
        <p:guide pos="2118"/>
        <p:guide orient="horz" pos="3129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2" y="14"/>
            <a:ext cx="2945659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17" tIns="46157" rIns="92317" bIns="46157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74" y="14"/>
            <a:ext cx="2945659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17" tIns="46157" rIns="92317" bIns="4615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ru-RU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69"/>
            <a:ext cx="5438140" cy="446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17" tIns="46157" rIns="92317" bIns="4615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2" y="9428597"/>
            <a:ext cx="2945659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17" tIns="46157" rIns="92317" bIns="46157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74" y="9428597"/>
            <a:ext cx="2945659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17" tIns="46157" rIns="92317" bIns="4615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864FAE4-9723-4169-9CE8-10A7C8F50D35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76906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6300" y="731838"/>
            <a:ext cx="4997450" cy="37480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49" y="4726977"/>
            <a:ext cx="4967531" cy="4479075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6300" y="731838"/>
            <a:ext cx="4997450" cy="37480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49" y="4726977"/>
            <a:ext cx="4967531" cy="4479075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993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6300" y="731838"/>
            <a:ext cx="4997450" cy="37480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48" y="4726976"/>
            <a:ext cx="4967531" cy="4479075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5948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6300" y="731838"/>
            <a:ext cx="4997450" cy="37480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48" y="4726976"/>
            <a:ext cx="4967531" cy="4479075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253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hyperlink" Target="http://www.rosatom.ru/" TargetMode="Externa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5.pn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://www.rosatom.ru/" TargetMode="Externa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hyperlink" Target="http://www.rosatom.ru/" TargetMode="Externa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Relationship Id="rId4" Type="http://schemas.openxmlformats.org/officeDocument/2006/relationships/hyperlink" Target="http://www.rosatom.ru/" TargetMode="Externa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4" Type="http://schemas.openxmlformats.org/officeDocument/2006/relationships/hyperlink" Target="http://www.rosatom.ru/" TargetMode="Externa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Relationship Id="rId4" Type="http://schemas.openxmlformats.org/officeDocument/2006/relationships/hyperlink" Target="http://www.rosatom.ru/" TargetMode="Externa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Relationship Id="rId4" Type="http://schemas.openxmlformats.org/officeDocument/2006/relationships/hyperlink" Target="http://www.rosatom.ru/" TargetMode="Externa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052237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51869957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434042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216777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88536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668815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493585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203227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185089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52691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760922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349295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re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210" y="0"/>
            <a:ext cx="8581790" cy="766329"/>
          </a:xfrm>
        </p:spPr>
        <p:txBody>
          <a:bodyPr>
            <a:noAutofit/>
          </a:bodyPr>
          <a:lstStyle>
            <a:lvl1pPr>
              <a:defRPr sz="2600">
                <a:solidFill>
                  <a:srgbClr val="215BAE"/>
                </a:solidFill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562210" y="1015853"/>
            <a:ext cx="806396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Изображение 12" descr="REA_logo_version3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210" y="6214281"/>
            <a:ext cx="2158814" cy="379416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520111" y="6347475"/>
            <a:ext cx="623889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EF29B0EE-84A7-4D26-B86D-316840AB9A86}" type="slidenum">
              <a:rPr lang="en-US" sz="2600" b="1" i="0" smtClean="0">
                <a:solidFill>
                  <a:schemeClr val="bg1"/>
                </a:solidFill>
              </a:rPr>
              <a:pPr algn="r"/>
              <a:t>‹#›</a:t>
            </a:fld>
            <a:endParaRPr lang="ru-RU" sz="2600" b="1" i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6790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4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580064" y="1076327"/>
            <a:ext cx="360362" cy="360363"/>
          </a:xfrm>
          <a:prstGeom prst="ellipse">
            <a:avLst/>
          </a:prstGeom>
          <a:solidFill>
            <a:schemeClr val="bg1"/>
          </a:solidFill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003274"/>
                </a:solidFill>
              </a:rPr>
              <a:t>1</a:t>
            </a:r>
          </a:p>
        </p:txBody>
      </p:sp>
      <p:sp>
        <p:nvSpPr>
          <p:cNvPr id="6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92801" y="1076327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05538" y="1076327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8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518275" y="1076327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9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831013" y="1076327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0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43750" y="1076327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1" name="navigation7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456489" y="1076327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12" name="Oval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769226" y="1076327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</a:rPr>
              <a:t>8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4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9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44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9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226439"/>
      </p:ext>
    </p:extLst>
  </p:cSld>
  <p:clrMapOvr>
    <a:masterClrMapping/>
  </p:clrMapOvr>
  <p:transition>
    <p:split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FEEFEA-3023-4A04-9A9E-BB536AF37F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711789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76BA4F-BF08-4CD5-B53C-93FFC9B839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145819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30ED2-61C5-4ADC-8D39-35ED358280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188859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268A0-F684-40D5-BD6F-FF7EAAF040B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593970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EE279B-3F16-4C21-AA23-33FDFFDD36E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95984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C74764-A741-4C0F-8158-E9CA3E69BE7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47272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1024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102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charset="0"/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A279B9-6729-4975-BE12-1D7C3889B60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504562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8FB96F-CAA8-43DA-AC43-15BABE0449F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223905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2D9A9C-59E1-44CA-8EE2-83150B43275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37856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5F14F1-174B-4649-B092-E517EFD390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765762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09115488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B78713-A8BC-4BC4-8D16-93D88FF99F1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904454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8780A3-EA2A-4787-B6BB-021FD5656B5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8595138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0D3EAC-2776-4EBF-8D73-1082020FEEF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8185966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DE46FD-6426-4160-9710-0682E0228C0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1189478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383196-824B-4052-B4CD-6509546A76A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227139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24F1F2-6FF9-4637-BF9E-F181EF68C2A6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CF9EF9-DFBF-42D2-8CE4-4D89E521240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8328469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FF8B03-3AF7-4DE3-87B7-2C0810F1FA3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4810964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650C4A-AAA6-448A-A3B8-50BC985E196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6118309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8DC42F-8B76-4B06-A823-66F4217DAF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607770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C28B3B-6912-4747-9303-5C4C7F25200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0965524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C12177-07D0-481F-80E3-F9E047B0CB4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2057418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99CB5-857C-43CE-A641-FDF44BE69B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950484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5661445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775875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85093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F0219C-A8B3-4DA9-8692-DFDF24EE917B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887921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683133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553965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889285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689647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26910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826249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919655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11284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3205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964636-4CF8-43F1-A901-D975EC239D09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55138740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BB240-A293-489C-995D-4C8BC8CFA49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06120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CD7A26-20E6-40D4-8107-CB599C6493F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5332511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CF0234-0A6C-4053-B845-D06B3CFD247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0635007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A5CE0-5BD0-48B8-BD36-EB78D4FDE81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9861885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D4E282-A076-4470-AE77-4B85D4BF114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2399874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8D7C9B-30AA-4CA1-A55A-299A97B3113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9898402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CCF09E-86E2-40ED-B872-16E61CC51DA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7617628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FEB83F-2AE9-4488-B631-E67874D202A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3373995"/>
      </p:ext>
    </p:extLst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CD1E0-223F-4042-B068-7B68064258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463896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A4C038-C9BD-4E00-90EE-24CECB55C792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9A6143-EC3F-4ED4-AA3F-673D5B8E033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9213831"/>
      </p:ext>
    </p:extLst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65476857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437E39-479F-4551-8FB3-44231663ACF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775471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EAC4BD-9E4D-4D69-AD27-F607B10D5EA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485459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408278-1A58-4A51-9ABE-F8CAE813B97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451938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94465D-5B49-4AF0-A007-57F78C73162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010573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2DF2E9-28A8-472C-95C1-BCDC61688F0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538110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6AE515-AB3E-46A4-9773-B9EA8789F80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923998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172910-4814-4A29-8D96-040027BE205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707870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BBE5EF-8335-4AB4-9213-31C370382D5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98615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279759B-BB9C-4C68-8523-3D0AFC6AC4A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128788-CA80-4A4C-B84B-BE01383D30E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453555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D17BE7-08E5-443D-A9F9-E6F23C6B029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388230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B95EE-C39F-4371-90A3-ED2311CBA5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901687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77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49018792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3768780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7556136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9058327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9646335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0594241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027627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59F6B0-C365-44D4-87F2-F6FB45A58E49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7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1753048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4373734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7795220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7224603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69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9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93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69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80727435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5866296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7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963542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9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0504997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509059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055921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91610A-83CF-4227-8B03-ADAD4D94780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0330331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0143740"/>
      </p:ext>
    </p:extLst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1569054"/>
      </p:ext>
    </p:extLst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1285016"/>
      </p:ext>
    </p:extLst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3568249"/>
      </p:ext>
    </p:extLst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811435"/>
              </p:ext>
            </p:ext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206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4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9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0931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4" y="4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6" tIns="46633" rIns="93266" bIns="46633" anchor="ctr"/>
          <a:lstStyle/>
          <a:p>
            <a:pPr defTabSz="914206"/>
            <a:endParaRPr lang="ru-RU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3" y="6574549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919391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3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0722" y="2119331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0160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03" y="6434905"/>
            <a:ext cx="541731" cy="439639"/>
          </a:xfrm>
          <a:prstGeom prst="rect">
            <a:avLst/>
          </a:prstGeom>
        </p:spPr>
        <p:txBody>
          <a:bodyPr wrap="none" lIns="93276" tIns="46638" rIns="93276" bIns="46638">
            <a:spAutoFit/>
          </a:bodyPr>
          <a:lstStyle/>
          <a:p>
            <a:pPr defTabSz="914206"/>
            <a:fld id="{3F385F46-FE36-43E0-8AEF-AC9950742405}" type="slidenum">
              <a:rPr lang="ru-RU" sz="2200" smtClean="0">
                <a:solidFill>
                  <a:srgbClr val="003274"/>
                </a:solidFill>
                <a:latin typeface="Arial"/>
              </a:rPr>
              <a:pPr defTabSz="914206"/>
              <a:t>‹#›</a:t>
            </a:fld>
            <a:endParaRPr lang="ru-RU" sz="22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931116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399F5-BADA-4B36-AEBD-BAE89375B9F8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navigation8" descr="ujkm,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63033808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8511F-4FF0-4561-891C-7BBC67922174}" type="slidenum">
              <a:rPr lang="ru-RU" smtClean="0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411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E8DE3E-B843-40C0-893B-3A35DA17BFEB}" type="slidenum">
              <a:rPr lang="ru-RU" smtClean="0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100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12AFCB-AB72-4856-A2F2-B569ED688A02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C6261-8784-4175-B0D1-639E4FB629CB}" type="slidenum">
              <a:rPr lang="ru-RU" smtClean="0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62606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7A086-8207-4EB0-B7D7-B01A4510EC13}" type="slidenum">
              <a:rPr lang="ru-RU" smtClean="0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75027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1163F-0EDC-4F72-A93E-A2C935F8D5D2}" type="slidenum">
              <a:rPr lang="ru-RU" smtClean="0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79391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15034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C6A24-F428-47B5-8CD5-F95B8372AD94}" type="slidenum">
              <a:rPr lang="ru-RU" smtClean="0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932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5C353-A132-4C4E-A23F-5E008E9AB163}" type="slidenum">
              <a:rPr lang="ru-RU" smtClean="0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23004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4C144-FA45-4983-B864-46D2F3CCFECD}" type="slidenum">
              <a:rPr lang="ru-RU" smtClean="0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09887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8BE43-CDC8-4A1D-9202-20DC25374369}" type="slidenum">
              <a:rPr lang="ru-RU" smtClean="0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89513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1464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5AD4FB-195D-4824-9DCA-C935451C97A2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FB1AA17-3238-46F2-B51F-12E5145C30E0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2867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28677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19757" y="1198773"/>
            <a:ext cx="1879610" cy="365126"/>
            <a:chOff x="5580063" y="1076325"/>
            <a:chExt cx="1879610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99311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1196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199192" y="108108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3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F29FA2-1520-478E-AF9E-BAA4CD04FBE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2FB20B-F89F-41E4-94A9-71917891D25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377D9F-5A26-4CB6-82A0-7D2E6011D530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6D090AC-9A7A-4070-BA8A-812C43F115AB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73E87F-6FBA-4E4E-885D-8A3712AB59F6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DD8CCC4-086C-43A9-A3FC-51A043EEADB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AAFD0C-7A7F-4BED-9477-BB2868116BD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5B3385A-D17A-44E8-9D2C-152CA88682A5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211A97E-C877-400F-9B79-73DCB6E256A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9C9F55-5523-4322-9DEE-23C689F6064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2772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2773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5" y="1190609"/>
            <a:ext cx="1879611" cy="374653"/>
            <a:chOff x="5570538" y="1071558"/>
            <a:chExt cx="1879611" cy="374653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89787" y="1071558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70538" y="108584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1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90D76F4-01B1-4081-BCB5-5C391BDE07A6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52460FC-B8E0-4CB2-80E4-0F03432EDCBC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3A6EC6-6644-4893-BA07-0E120D2DFC7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1E9790-7F1B-4B30-9094-B58ED56AD31E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9CAC4D-9498-46D3-AC8C-DE5239890B1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652F28-FB14-45E9-9047-5B101D03FCCD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FF18B0-9C34-49D7-963F-212DA0F92C6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5E9FB2-C7A7-466D-A7C2-BD159AA53E30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5B0BD0-F387-4188-A177-65B27AD322A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0F077E-F27C-4C81-9FF1-8B8FFD1FA68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34820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4821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4" y="1214422"/>
            <a:ext cx="1885968" cy="365126"/>
            <a:chOff x="5580063" y="1071562"/>
            <a:chExt cx="1885968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05668" y="1071562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72172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2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69F1B6-96DE-4708-90AE-1648652F4A5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5580063" y="1194011"/>
            <a:ext cx="1924068" cy="369888"/>
            <a:chOff x="5580063" y="1074732"/>
            <a:chExt cx="1924068" cy="369888"/>
          </a:xfrm>
        </p:grpSpPr>
        <p:sp>
          <p:nvSpPr>
            <p:cNvPr id="11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3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68" y="1084257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6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491301" y="107473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4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26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5637213" y="1194011"/>
            <a:ext cx="1992333" cy="369888"/>
            <a:chOff x="5580063" y="1066800"/>
            <a:chExt cx="1992333" cy="36988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66800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5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6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212034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59606" y="107315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5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618163" y="1198789"/>
            <a:ext cx="1924050" cy="360363"/>
            <a:chOff x="5580063" y="1076325"/>
            <a:chExt cx="1924050" cy="360363"/>
          </a:xfrm>
        </p:grpSpPr>
        <p:sp>
          <p:nvSpPr>
            <p:cNvPr id="6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7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8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9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0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1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50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hlink"/>
                  </a:solidFill>
                </a:rPr>
                <a:t>6</a:t>
              </a:r>
            </a:p>
          </p:txBody>
        </p:sp>
      </p:grpSp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split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4890031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756215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080876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119944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698217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40704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908343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988750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095424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73768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0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image" Target="../media/image1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2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5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image" Target="../media/image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6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Relationship Id="rId14" Type="http://schemas.openxmlformats.org/officeDocument/2006/relationships/image" Target="../media/image1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image" Target="../media/image2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90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8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93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4" Type="http://schemas.openxmlformats.org/officeDocument/2006/relationships/image" Target="../media/image2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heme" Target="../theme/theme18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9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0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9231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960" r:id="rId12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342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0A2E7403-A31C-4612-ADD8-582B85A3F13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pic>
        <p:nvPicPr>
          <p:cNvPr id="4112" name="Picture 16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41" name="Rectangle 1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2163764" y="6469065"/>
            <a:ext cx="179387" cy="1793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 b="1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158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rgbClr val="003274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7531B5C-6534-4308-BBE4-BDA73A2632A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57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57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57029" name="navigation8" descr="ujkm,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80861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27959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961" r:id="rId12"/>
    <p:sldLayoutId id="2147483969" r:id="rId13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>
              <a:defRPr/>
            </a:pPr>
            <a:fld id="{7FBFBA33-169F-44A9-A5DF-A0C25D734F8D}" type="slidenum">
              <a:rPr lang="ru-RU">
                <a:latin typeface="Arial"/>
              </a:rPr>
              <a:pPr>
                <a:defRPr/>
              </a:pPr>
              <a:t>‹#›</a:t>
            </a:fld>
            <a:endParaRPr lang="ru-RU" dirty="0">
              <a:latin typeface="Arial"/>
            </a:endParaRPr>
          </a:p>
        </p:txBody>
      </p:sp>
      <p:sp>
        <p:nvSpPr>
          <p:cNvPr id="203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37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3781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06951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45F48F7-F5BB-47E4-824F-28845CE8C8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90640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79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42845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99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87276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6863654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0" y="1980009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3" y="4197989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/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78" indent="-621778" defTabSz="913235">
              <a:tabLst>
                <a:tab pos="62501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06"/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914206"/>
              <a:r>
                <a:rPr lang="ru-RU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420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420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228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</p:sldLayoutIdLst>
  <p:hf sldNum="0" hdr="0" ftr="0" dt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tabLst>
          <a:tab pos="364323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0697D5-9D7A-4F1D-87E5-2C916FF3A401}" type="datetimeFigureOut">
              <a:rPr lang="ru-RU" smtClean="0"/>
              <a:t>10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C25FF4-21E9-41B0-81DE-DEE261383B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6457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82" r:id="rId12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A663EA52-884A-401B-9C0B-BA7D6E6232EC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9221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98AFEC57-EB06-4D59-A7D0-215126966E20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76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7653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14282" y="6510359"/>
            <a:ext cx="1414473" cy="190478"/>
            <a:chOff x="458788" y="6467497"/>
            <a:chExt cx="1414473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4587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1</a:t>
              </a: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3874" y="6467497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charset="0"/>
                </a:rPr>
                <a:t>6</a:t>
              </a:r>
              <a:endParaRPr lang="ru-RU" sz="1200" b="1" dirty="0">
                <a:cs typeface="Arial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935041" y="647382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20224EE2-69FB-42C8-8E3C-9785D9F190B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pic>
        <p:nvPicPr>
          <p:cNvPr id="31754" name="navigation6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330154" y="6496071"/>
            <a:ext cx="1474814" cy="190478"/>
            <a:chOff x="396857" y="6467497"/>
            <a:chExt cx="1474814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2284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charset="0"/>
                </a:rPr>
                <a:t>6</a:t>
              </a:r>
              <a:endParaRPr lang="ru-RU" sz="1200" b="1" dirty="0">
                <a:cs typeface="Arial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3</a:t>
              </a: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396857" y="647858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8AD15098-A811-4E07-946B-55DA15EE127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53742" y="6510359"/>
            <a:ext cx="1492487" cy="190478"/>
            <a:chOff x="393472" y="6467497"/>
            <a:chExt cx="1492487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1</a:t>
              </a: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706572" y="6477022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3</a:t>
              </a: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906236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677865" y="647225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58" r:id="rId12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8AD15098-A811-4E07-946B-55DA15EE127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3" name="Группа 12"/>
          <p:cNvGrpSpPr/>
          <p:nvPr/>
        </p:nvGrpSpPr>
        <p:grpSpPr>
          <a:xfrm>
            <a:off x="219044" y="6505595"/>
            <a:ext cx="1479559" cy="193676"/>
            <a:chOff x="382586" y="6467496"/>
            <a:chExt cx="1479559" cy="193676"/>
          </a:xfrm>
        </p:grpSpPr>
        <p:sp>
          <p:nvSpPr>
            <p:cNvPr id="14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82586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1</a:t>
              </a:r>
            </a:p>
          </p:txBody>
        </p:sp>
        <p:sp>
          <p:nvSpPr>
            <p:cNvPr id="15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3101" y="6481785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6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3</a:t>
              </a:r>
            </a:p>
          </p:txBody>
        </p:sp>
        <p:sp>
          <p:nvSpPr>
            <p:cNvPr id="17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9" name="navigation7"/>
            <p:cNvSpPr>
              <a:spLocks noChangeShapeType="1"/>
            </p:cNvSpPr>
            <p:nvPr userDrawn="1"/>
          </p:nvSpPr>
          <p:spPr bwMode="auto">
            <a:xfrm>
              <a:off x="1127556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0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682758" y="648178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6</a:t>
              </a:r>
              <a:endParaRPr lang="ru-RU" sz="1200" b="1" dirty="0"/>
            </a:p>
          </p:txBody>
        </p:sp>
        <p:sp>
          <p:nvSpPr>
            <p:cNvPr id="21" name="Rectangle 13"/>
            <p:cNvSpPr>
              <a:spLocks noChangeArrowheads="1"/>
            </p:cNvSpPr>
            <p:nvPr userDrawn="1"/>
          </p:nvSpPr>
          <p:spPr bwMode="auto">
            <a:xfrm>
              <a:off x="1173167" y="646749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4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8AD15098-A811-4E07-946B-55DA15EE127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6" name="Группа 15"/>
          <p:cNvGrpSpPr/>
          <p:nvPr/>
        </p:nvGrpSpPr>
        <p:grpSpPr>
          <a:xfrm>
            <a:off x="220404" y="6510357"/>
            <a:ext cx="1473437" cy="190480"/>
            <a:chOff x="393472" y="6467495"/>
            <a:chExt cx="1473437" cy="190480"/>
          </a:xfrm>
        </p:grpSpPr>
        <p:sp>
          <p:nvSpPr>
            <p:cNvPr id="17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1</a:t>
              </a:r>
            </a:p>
          </p:txBody>
        </p:sp>
        <p:sp>
          <p:nvSpPr>
            <p:cNvPr id="18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87522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9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3</a:t>
              </a:r>
            </a:p>
          </p:txBody>
        </p:sp>
        <p:sp>
          <p:nvSpPr>
            <p:cNvPr id="20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</a:p>
          </p:txBody>
        </p:sp>
        <p:sp>
          <p:nvSpPr>
            <p:cNvPr id="24" name="Rectangle 13"/>
            <p:cNvSpPr>
              <a:spLocks noChangeArrowheads="1"/>
            </p:cNvSpPr>
            <p:nvPr userDrawn="1"/>
          </p:nvSpPr>
          <p:spPr bwMode="auto">
            <a:xfrm>
              <a:off x="1425582" y="6467497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5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73102" y="646749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2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8AD15098-A811-4E07-946B-55DA15EE127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8" name="Группа 17"/>
          <p:cNvGrpSpPr/>
          <p:nvPr/>
        </p:nvGrpSpPr>
        <p:grpSpPr>
          <a:xfrm>
            <a:off x="260122" y="6496072"/>
            <a:ext cx="1506747" cy="190478"/>
            <a:chOff x="393472" y="6467497"/>
            <a:chExt cx="1506747" cy="190478"/>
          </a:xfrm>
        </p:grpSpPr>
        <p:sp>
          <p:nvSpPr>
            <p:cNvPr id="33798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1</a:t>
              </a:r>
            </a:p>
          </p:txBody>
        </p:sp>
        <p:sp>
          <p:nvSpPr>
            <p:cNvPr id="33799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33800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3</a:t>
              </a:r>
            </a:p>
          </p:txBody>
        </p:sp>
        <p:sp>
          <p:nvSpPr>
            <p:cNvPr id="33801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33802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 userDrawn="1"/>
          </p:nvSpPr>
          <p:spPr bwMode="auto">
            <a:xfrm>
              <a:off x="1720832" y="6469063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6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00549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8.xml"/><Relationship Id="rId1" Type="http://schemas.openxmlformats.org/officeDocument/2006/relationships/tags" Target="../tags/tag4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08.xml"/><Relationship Id="rId1" Type="http://schemas.openxmlformats.org/officeDocument/2006/relationships/tags" Target="../tags/tag5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08.xml"/><Relationship Id="rId1" Type="http://schemas.openxmlformats.org/officeDocument/2006/relationships/tags" Target="../tags/tag6.xml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08.xml"/><Relationship Id="rId1" Type="http://schemas.openxmlformats.org/officeDocument/2006/relationships/tags" Target="../tags/tag7.xml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82116" y="82399"/>
            <a:ext cx="1043608" cy="880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34932" y="1392658"/>
            <a:ext cx="4145575" cy="217834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300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64556" y="3641398"/>
            <a:ext cx="4145575" cy="230425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538992" y="1427888"/>
            <a:ext cx="4293160" cy="217834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Повышение качества оказания медицинской помощи </a:t>
            </a:r>
          </a:p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Быстрое выявление острых сердечно-сосудистых событий</a:t>
            </a:r>
          </a:p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Оперативная передача информации </a:t>
            </a:r>
            <a:r>
              <a:rPr lang="ru-RU" sz="900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в специализированные центры для      диагностики 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Оперативное оказание медицинской помощи пациентам с сердечно-сосудистыми катастрофами</a:t>
            </a:r>
          </a:p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Отсутствие современного оборудования</a:t>
            </a:r>
          </a:p>
          <a:p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538992" y="3633776"/>
            <a:ext cx="4293160" cy="230425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>
          <a:xfrm>
            <a:off x="135152" y="821222"/>
            <a:ext cx="8986368" cy="65004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ru-RU" sz="1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Р-проект «Оптимизация процесса инструментального обследования (электрокардиография) пациентов при оказании неотложной помощи на дому»</a:t>
            </a:r>
            <a:endParaRPr lang="en-US" sz="13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566089" y="3636297"/>
            <a:ext cx="4233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rgbClr val="3E87BD">
                    <a:lumMod val="75000"/>
                  </a:srgb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u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000" u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события (КС)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32211" y="3606231"/>
            <a:ext cx="39879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и плановый эффект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399836" y="1410848"/>
            <a:ext cx="42808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r>
              <a:rPr lang="en-US" sz="1000" u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u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снование выбора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98491" y="1410848"/>
            <a:ext cx="42116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r>
              <a:rPr lang="ru-RU" sz="1000" u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ные лица и рамки проекта</a:t>
            </a:r>
          </a:p>
        </p:txBody>
      </p:sp>
      <p:sp>
        <p:nvSpPr>
          <p:cNvPr id="33" name="TextBox 14"/>
          <p:cNvSpPr txBox="1">
            <a:spLocks noChangeArrowheads="1"/>
          </p:cNvSpPr>
          <p:nvPr/>
        </p:nvSpPr>
        <p:spPr bwMode="auto">
          <a:xfrm>
            <a:off x="4542431" y="3935738"/>
            <a:ext cx="4178089" cy="1785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тарт проекта	07.07.2025</a:t>
            </a:r>
          </a:p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иагностика и целевое состояние 	29.07.2025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.1. разработка текущей карты процесса 	29.07.2025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.2 разработка целевой карты процесса 	29.07.2025</a:t>
            </a:r>
          </a:p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плана мероприятий  </a:t>
            </a: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</a:rPr>
              <a:t>	29.07.2025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Kick-off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встреча	18.09.2025</a:t>
            </a:r>
          </a:p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недрение	15.12.2025</a:t>
            </a:r>
          </a:p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крепление результатов и закрытие проекта 	25.12.2025</a:t>
            </a:r>
            <a:endParaRPr lang="ru-RU" alt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432058"/>
              </p:ext>
            </p:extLst>
          </p:nvPr>
        </p:nvGraphicFramePr>
        <p:xfrm>
          <a:off x="317617" y="3824649"/>
          <a:ext cx="4052137" cy="1888818"/>
        </p:xfrm>
        <a:graphic>
          <a:graphicData uri="http://schemas.openxmlformats.org/drawingml/2006/table">
            <a:tbl>
              <a:tblPr firstRow="1" bandRow="1"/>
              <a:tblGrid>
                <a:gridCol w="2232248">
                  <a:extLst>
                    <a:ext uri="{9D8B030D-6E8A-4147-A177-3AD203B41FA5}">
                      <a16:colId xmlns:a16="http://schemas.microsoft.com/office/drawing/2014/main" val="2583204338"/>
                    </a:ext>
                  </a:extLst>
                </a:gridCol>
                <a:gridCol w="910187">
                  <a:extLst>
                    <a:ext uri="{9D8B030D-6E8A-4147-A177-3AD203B41FA5}">
                      <a16:colId xmlns:a16="http://schemas.microsoft.com/office/drawing/2014/main" val="29635232"/>
                    </a:ext>
                  </a:extLst>
                </a:gridCol>
                <a:gridCol w="909702">
                  <a:extLst>
                    <a:ext uri="{9D8B030D-6E8A-4147-A177-3AD203B41FA5}">
                      <a16:colId xmlns:a16="http://schemas.microsoft.com/office/drawing/2014/main" val="3384265906"/>
                    </a:ext>
                  </a:extLst>
                </a:gridCol>
              </a:tblGrid>
              <a:tr h="4038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именование цели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кущий показатель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левой показатель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1752678"/>
                  </a:ext>
                </a:extLst>
              </a:tr>
              <a:tr h="24643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кращение времени ожидания описания электрокардиографического обследования, мин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5180504"/>
                  </a:ext>
                </a:extLst>
              </a:tr>
              <a:tr h="340012"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удовлетворенности пациента оказанной медицинской помощью,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1971306"/>
                  </a:ext>
                </a:extLst>
              </a:tr>
              <a:tr h="260360"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кращение времени госпитализации при наличии показаний, мин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9881005"/>
                  </a:ext>
                </a:extLst>
              </a:tr>
              <a:tr h="260360"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0937487"/>
                  </a:ext>
                </a:extLst>
              </a:tr>
            </a:tbl>
          </a:graphicData>
        </a:graphic>
      </p:graphicFrame>
      <p:pic>
        <p:nvPicPr>
          <p:cNvPr id="15628" name="Picture 268" descr="Герб Курской области — Википедия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491" y="108225"/>
            <a:ext cx="657693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8239628"/>
              </p:ext>
            </p:extLst>
          </p:nvPr>
        </p:nvGraphicFramePr>
        <p:xfrm>
          <a:off x="296686" y="1658179"/>
          <a:ext cx="4059787" cy="17373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59787">
                  <a:extLst>
                    <a:ext uri="{9D8B030D-6E8A-4147-A177-3AD203B41FA5}">
                      <a16:colId xmlns:a16="http://schemas.microsoft.com/office/drawing/2014/main" val="2935239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000" b="1" u="sng" dirty="0">
                          <a:solidFill>
                            <a:srgbClr val="002060"/>
                          </a:solidFill>
                          <a:latin typeface="Arial (Основной текст)"/>
                        </a:rPr>
                        <a:t>Заказчик</a:t>
                      </a:r>
                      <a:r>
                        <a:rPr lang="ru-RU" sz="1000" b="1" u="sng" baseline="0" dirty="0">
                          <a:solidFill>
                            <a:srgbClr val="002060"/>
                          </a:solidFill>
                          <a:latin typeface="Arial (Основной текст)"/>
                        </a:rPr>
                        <a:t> </a:t>
                      </a:r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проекта: </a:t>
                      </a:r>
                      <a:r>
                        <a:rPr lang="ru-RU" sz="1000" b="0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главный врач ОБУЗ КГП№5, пациенты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9244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Периметр проекта:  </a:t>
                      </a:r>
                      <a:r>
                        <a:rPr lang="ru-RU" sz="1000" b="0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поликлиника и территория обслуживания;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Границы процесса</a:t>
                      </a:r>
                      <a:r>
                        <a:rPr lang="ru-RU" sz="1000" b="1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000" b="0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от звонка пациента до внесения данных осмотра в ЕМИС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7725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Руководитель проекта:</a:t>
                      </a:r>
                      <a:r>
                        <a:rPr lang="ru-RU" sz="1000" b="1" u="none" baseline="0" dirty="0">
                          <a:solidFill>
                            <a:srgbClr val="002060"/>
                          </a:solidFill>
                          <a:latin typeface="Arial (Основной текст)"/>
                        </a:rPr>
                        <a:t> </a:t>
                      </a:r>
                      <a:r>
                        <a:rPr lang="ru-RU" sz="1000" b="0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зав. терапевтическим отделением Марковчина Е.В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22987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Команда проекта:  </a:t>
                      </a:r>
                      <a:r>
                        <a:rPr lang="ru-RU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зав. терапевтическим отделением Логачева О.И., старшая медицинская сестра </a:t>
                      </a:r>
                      <a:r>
                        <a:rPr lang="ru-RU" sz="1000" b="0" u="sng" kern="1200" baseline="0" dirty="0" err="1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Адоевская</a:t>
                      </a:r>
                      <a:r>
                        <a:rPr lang="ru-RU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 Л.В., программист </a:t>
                      </a:r>
                      <a:r>
                        <a:rPr lang="ru-RU" sz="1000" b="0" u="sng" kern="1200" baseline="0" dirty="0" err="1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Илько</a:t>
                      </a:r>
                      <a:r>
                        <a:rPr lang="ru-RU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 Е.А., оператор </a:t>
                      </a:r>
                      <a:r>
                        <a:rPr lang="en-US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Call-</a:t>
                      </a:r>
                      <a:r>
                        <a:rPr lang="ru-RU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центра </a:t>
                      </a:r>
                      <a:r>
                        <a:rPr lang="ru-RU" sz="1000" b="0" u="sng" kern="1200" baseline="0" dirty="0" err="1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Марковчина</a:t>
                      </a:r>
                      <a:r>
                        <a:rPr lang="ru-RU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 Е.А.</a:t>
                      </a:r>
                      <a:endParaRPr lang="ru-RU" sz="1000" b="0" u="none" kern="1200" baseline="0" dirty="0">
                        <a:solidFill>
                          <a:schemeClr val="tx1"/>
                        </a:solidFill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7356719"/>
                  </a:ext>
                </a:extLst>
              </a:tr>
            </a:tbl>
          </a:graphicData>
        </a:graphic>
      </p:graphicFrame>
      <p:pic>
        <p:nvPicPr>
          <p:cNvPr id="15640" name="Picture 280" descr="Росатом — Википедия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90979" y="73928"/>
            <a:ext cx="670905" cy="68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3"/>
          <p:cNvSpPr txBox="1">
            <a:spLocks noChangeArrowheads="1"/>
          </p:cNvSpPr>
          <p:nvPr/>
        </p:nvSpPr>
        <p:spPr>
          <a:xfrm>
            <a:off x="6012160" y="95638"/>
            <a:ext cx="2139426" cy="609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"/>
          <p:cNvSpPr txBox="1">
            <a:spLocks noChangeArrowheads="1"/>
          </p:cNvSpPr>
          <p:nvPr/>
        </p:nvSpPr>
        <p:spPr>
          <a:xfrm>
            <a:off x="1081426" y="94618"/>
            <a:ext cx="2139426" cy="609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"/>
          <p:cNvSpPr txBox="1">
            <a:spLocks noChangeArrowheads="1"/>
          </p:cNvSpPr>
          <p:nvPr/>
        </p:nvSpPr>
        <p:spPr>
          <a:xfrm>
            <a:off x="6084168" y="6067727"/>
            <a:ext cx="2602396" cy="7617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DEDF00-8260-45BB-B197-62F7AD33CB9A}"/>
              </a:ext>
            </a:extLst>
          </p:cNvPr>
          <p:cNvSpPr txBox="1"/>
          <p:nvPr/>
        </p:nvSpPr>
        <p:spPr>
          <a:xfrm>
            <a:off x="4881184" y="203259"/>
            <a:ext cx="348951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 algn="l"/>
            <a:r>
              <a:rPr lang="ru-RU" sz="1000" b="0" u="none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огласовано</a:t>
            </a:r>
          </a:p>
          <a:p>
            <a:pPr algn="l"/>
            <a:r>
              <a:rPr lang="ru-RU" sz="1000" b="0" u="none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Главный врач ОБУЗ «Курская городская поликлиника №5»</a:t>
            </a:r>
          </a:p>
          <a:p>
            <a:pPr algn="l"/>
            <a:r>
              <a:rPr lang="ru-RU" sz="1000" b="0" u="none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_______________________Старкова С.А.</a:t>
            </a:r>
            <a:endParaRPr lang="ru-RU" sz="1000" b="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1BE8C17-17CA-4954-B2E4-DD045C65D181}"/>
              </a:ext>
            </a:extLst>
          </p:cNvPr>
          <p:cNvSpPr txBox="1"/>
          <p:nvPr/>
        </p:nvSpPr>
        <p:spPr>
          <a:xfrm>
            <a:off x="6228184" y="6020423"/>
            <a:ext cx="27363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r>
              <a:rPr lang="ru-RU" sz="1000" b="0" u="none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Зав. терапевтическим отделением </a:t>
            </a:r>
            <a:r>
              <a:rPr lang="ru-RU" sz="1000" b="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____________       </a:t>
            </a:r>
            <a:r>
              <a:rPr lang="ru-RU" sz="1000" b="0" u="none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арковчина Е. В.</a:t>
            </a:r>
          </a:p>
        </p:txBody>
      </p:sp>
    </p:spTree>
    <p:extLst>
      <p:ext uri="{BB962C8B-B14F-4D97-AF65-F5344CB8AC3E}">
        <p14:creationId xmlns:p14="http://schemas.microsoft.com/office/powerpoint/2010/main" val="247036308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82116" y="82399"/>
            <a:ext cx="1043608" cy="880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34932" y="1392658"/>
            <a:ext cx="4145575" cy="217834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300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64556" y="3641398"/>
            <a:ext cx="4145575" cy="230425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538992" y="1427888"/>
            <a:ext cx="4293160" cy="217834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Длительное время оказания медицинской помощи</a:t>
            </a:r>
          </a:p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Отсутствие возможности оперативной диагностики медицинской помощи при выявлении острых сосудистых событий</a:t>
            </a:r>
          </a:p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Отсутствие оперативной передачи информации </a:t>
            </a:r>
            <a:r>
              <a:rPr lang="ru-RU" sz="900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в специализированные центры для диагностики 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Необходимость оказания неотложной помощи </a:t>
            </a:r>
            <a:r>
              <a:rPr lang="ru-RU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оликлинике в 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х реорганизации службы скорой помощи</a:t>
            </a:r>
          </a:p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Отсутствие современного оборудования</a:t>
            </a:r>
          </a:p>
          <a:p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900" b="1" u="sng" kern="1200" baseline="0" dirty="0">
                <a:solidFill>
                  <a:srgbClr val="002060"/>
                </a:solidFill>
                <a:latin typeface="Arial (Основной текст)"/>
                <a:ea typeface="+mn-ea"/>
                <a:cs typeface="+mn-cs"/>
              </a:rPr>
              <a:t>Ключевые риски: 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1.Несвоевременное оказание медицинской помощи при сердечно- сосудистых заболеваниях.</a:t>
            </a:r>
          </a:p>
          <a:p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538992" y="3633776"/>
            <a:ext cx="4293160" cy="230425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>
          <a:xfrm>
            <a:off x="135152" y="821222"/>
            <a:ext cx="8986368" cy="65004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ru-RU" sz="1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Р-проект «Оптимизация процесса инструментального обследования (электрокардиография) пациентов при оказании неотложной помощи на дому»</a:t>
            </a:r>
            <a:endParaRPr lang="en-US" sz="13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566089" y="3636297"/>
            <a:ext cx="4233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rgbClr val="3E87BD">
                    <a:lumMod val="75000"/>
                  </a:srgb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u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000" u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события (КС)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32211" y="3606231"/>
            <a:ext cx="39879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и плановый эффект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399836" y="1410848"/>
            <a:ext cx="42808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r>
              <a:rPr lang="en-US" sz="1000" u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u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снование выбора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98491" y="1410848"/>
            <a:ext cx="42116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r>
              <a:rPr lang="ru-RU" sz="1000" u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ные лица и рамки проекта</a:t>
            </a:r>
          </a:p>
        </p:txBody>
      </p:sp>
      <p:sp>
        <p:nvSpPr>
          <p:cNvPr id="33" name="TextBox 14"/>
          <p:cNvSpPr txBox="1">
            <a:spLocks noChangeArrowheads="1"/>
          </p:cNvSpPr>
          <p:nvPr/>
        </p:nvSpPr>
        <p:spPr bwMode="auto">
          <a:xfrm>
            <a:off x="4542431" y="3935738"/>
            <a:ext cx="4178089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algn="just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тарт проекта	07.07.2025</a:t>
            </a:r>
          </a:p>
          <a:p>
            <a:pPr marL="228600" indent="-228600" algn="just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артирование                                                                 29.07.2025</a:t>
            </a:r>
          </a:p>
          <a:p>
            <a:pPr marL="228600" indent="-228600" algn="just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целевой карты процесса и </a:t>
            </a:r>
          </a:p>
          <a:p>
            <a:pPr algn="just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лана мероприятий                                                              29.07.2025</a:t>
            </a:r>
          </a:p>
          <a:p>
            <a:pPr algn="just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4. Реализация плана мероприятий </a:t>
            </a:r>
          </a:p>
          <a:p>
            <a:pPr algn="just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внедрение улучшений)                                                       15.12.2025</a:t>
            </a:r>
          </a:p>
          <a:p>
            <a:pPr algn="just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5. Закрепление результатов и закрытие проекта              25.12.2025      </a:t>
            </a:r>
            <a:endParaRPr lang="ru-RU" alt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0199145"/>
              </p:ext>
            </p:extLst>
          </p:nvPr>
        </p:nvGraphicFramePr>
        <p:xfrm>
          <a:off x="317617" y="3824649"/>
          <a:ext cx="4052137" cy="1888818"/>
        </p:xfrm>
        <a:graphic>
          <a:graphicData uri="http://schemas.openxmlformats.org/drawingml/2006/table">
            <a:tbl>
              <a:tblPr firstRow="1" bandRow="1"/>
              <a:tblGrid>
                <a:gridCol w="2232248">
                  <a:extLst>
                    <a:ext uri="{9D8B030D-6E8A-4147-A177-3AD203B41FA5}">
                      <a16:colId xmlns:a16="http://schemas.microsoft.com/office/drawing/2014/main" val="2583204338"/>
                    </a:ext>
                  </a:extLst>
                </a:gridCol>
                <a:gridCol w="910187">
                  <a:extLst>
                    <a:ext uri="{9D8B030D-6E8A-4147-A177-3AD203B41FA5}">
                      <a16:colId xmlns:a16="http://schemas.microsoft.com/office/drawing/2014/main" val="29635232"/>
                    </a:ext>
                  </a:extLst>
                </a:gridCol>
                <a:gridCol w="909702">
                  <a:extLst>
                    <a:ext uri="{9D8B030D-6E8A-4147-A177-3AD203B41FA5}">
                      <a16:colId xmlns:a16="http://schemas.microsoft.com/office/drawing/2014/main" val="3384265906"/>
                    </a:ext>
                  </a:extLst>
                </a:gridCol>
              </a:tblGrid>
              <a:tr h="4038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именование цели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кущий показатель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левой показатель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1752678"/>
                  </a:ext>
                </a:extLst>
              </a:tr>
              <a:tr h="24643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кращение времени ожидания описания электрокардиографического обследования, мин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5180504"/>
                  </a:ext>
                </a:extLst>
              </a:tr>
              <a:tr h="340012"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удовлетворенности пациента оказанной медицинской помощью,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1971306"/>
                  </a:ext>
                </a:extLst>
              </a:tr>
              <a:tr h="260360"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кращение времени госпитализации при наличии показаний, мин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9881005"/>
                  </a:ext>
                </a:extLst>
              </a:tr>
              <a:tr h="260360"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+mj-lt"/>
                        <a:buNone/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0937487"/>
                  </a:ext>
                </a:extLst>
              </a:tr>
            </a:tbl>
          </a:graphicData>
        </a:graphic>
      </p:graphicFrame>
      <p:pic>
        <p:nvPicPr>
          <p:cNvPr id="15628" name="Picture 268" descr="Герб Курской области — Википедия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491" y="108225"/>
            <a:ext cx="657693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0259083"/>
              </p:ext>
            </p:extLst>
          </p:nvPr>
        </p:nvGraphicFramePr>
        <p:xfrm>
          <a:off x="296686" y="1658179"/>
          <a:ext cx="4059787" cy="1889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59787">
                  <a:extLst>
                    <a:ext uri="{9D8B030D-6E8A-4147-A177-3AD203B41FA5}">
                      <a16:colId xmlns:a16="http://schemas.microsoft.com/office/drawing/2014/main" val="2935239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000" b="1" u="sng" dirty="0">
                          <a:solidFill>
                            <a:srgbClr val="002060"/>
                          </a:solidFill>
                          <a:latin typeface="Arial (Основной текст)"/>
                        </a:rPr>
                        <a:t>Заказчик</a:t>
                      </a:r>
                      <a:r>
                        <a:rPr lang="ru-RU" sz="1000" b="1" u="sng" baseline="0" dirty="0">
                          <a:solidFill>
                            <a:srgbClr val="002060"/>
                          </a:solidFill>
                          <a:latin typeface="Arial (Основной текст)"/>
                        </a:rPr>
                        <a:t> </a:t>
                      </a:r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проекта: </a:t>
                      </a:r>
                      <a:r>
                        <a:rPr lang="ru-RU" sz="1000" b="0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главный врач ОБУЗ КГП№5, пациенты</a:t>
                      </a:r>
                    </a:p>
                    <a:p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Владелец процесса</a:t>
                      </a:r>
                      <a:r>
                        <a:rPr lang="en-US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000" b="0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главный врач ОБУЗ КГП№5</a:t>
                      </a:r>
                      <a:endParaRPr lang="ru-RU" sz="1000" b="1" u="sng" kern="1200" baseline="0" dirty="0">
                        <a:solidFill>
                          <a:srgbClr val="002060"/>
                        </a:solidFill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9244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Периметр проекта:  </a:t>
                      </a:r>
                      <a:r>
                        <a:rPr lang="ru-RU" sz="1000" b="0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поликлиника и территория обслуживания;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Границы процесса</a:t>
                      </a:r>
                      <a:r>
                        <a:rPr lang="ru-RU" sz="1000" b="1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000" b="0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от звонка пациента до внесения данных осмотра в ЕМИС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7725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Руководитель проекта:</a:t>
                      </a:r>
                      <a:r>
                        <a:rPr lang="ru-RU" sz="1000" b="1" u="none" baseline="0" dirty="0">
                          <a:solidFill>
                            <a:srgbClr val="002060"/>
                          </a:solidFill>
                          <a:latin typeface="Arial (Основной текст)"/>
                        </a:rPr>
                        <a:t> </a:t>
                      </a:r>
                      <a:r>
                        <a:rPr lang="ru-RU" sz="1000" b="0" u="none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зав. терапевтическим отделением Марковчина Е.В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22987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Команда проекта:  </a:t>
                      </a:r>
                      <a:r>
                        <a:rPr lang="ru-RU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зав. терапевтическим отделением Логачева О.И., старшая медицинская сестра </a:t>
                      </a:r>
                      <a:r>
                        <a:rPr lang="ru-RU" sz="1000" b="0" u="sng" kern="1200" baseline="0" dirty="0" err="1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Адоевская</a:t>
                      </a:r>
                      <a:r>
                        <a:rPr lang="ru-RU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 Л.В., программист </a:t>
                      </a:r>
                      <a:r>
                        <a:rPr lang="ru-RU" sz="1000" b="0" u="sng" kern="1200" baseline="0" dirty="0" err="1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Илько</a:t>
                      </a:r>
                      <a:r>
                        <a:rPr lang="ru-RU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 Е.А., оператор </a:t>
                      </a:r>
                      <a:r>
                        <a:rPr lang="en-US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Call-</a:t>
                      </a:r>
                      <a:r>
                        <a:rPr lang="ru-RU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центра </a:t>
                      </a:r>
                      <a:r>
                        <a:rPr lang="ru-RU" sz="1000" b="0" u="sng" kern="1200" baseline="0" dirty="0" err="1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Марковчина</a:t>
                      </a:r>
                      <a:r>
                        <a:rPr lang="ru-RU" sz="1000" b="0" u="sng" kern="1200" baseline="0" dirty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 Е.А.</a:t>
                      </a:r>
                      <a:endParaRPr lang="ru-RU" sz="1000" b="0" u="none" kern="1200" baseline="0" dirty="0">
                        <a:solidFill>
                          <a:schemeClr val="tx1"/>
                        </a:solidFill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7356719"/>
                  </a:ext>
                </a:extLst>
              </a:tr>
            </a:tbl>
          </a:graphicData>
        </a:graphic>
      </p:graphicFrame>
      <p:pic>
        <p:nvPicPr>
          <p:cNvPr id="15640" name="Picture 280" descr="Росатом — Википедия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90979" y="73928"/>
            <a:ext cx="670905" cy="68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3"/>
          <p:cNvSpPr txBox="1">
            <a:spLocks noChangeArrowheads="1"/>
          </p:cNvSpPr>
          <p:nvPr/>
        </p:nvSpPr>
        <p:spPr>
          <a:xfrm>
            <a:off x="6012160" y="95638"/>
            <a:ext cx="2139426" cy="609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"/>
          <p:cNvSpPr txBox="1">
            <a:spLocks noChangeArrowheads="1"/>
          </p:cNvSpPr>
          <p:nvPr/>
        </p:nvSpPr>
        <p:spPr>
          <a:xfrm>
            <a:off x="1081426" y="94618"/>
            <a:ext cx="2139426" cy="609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"/>
          <p:cNvSpPr txBox="1">
            <a:spLocks noChangeArrowheads="1"/>
          </p:cNvSpPr>
          <p:nvPr/>
        </p:nvSpPr>
        <p:spPr>
          <a:xfrm>
            <a:off x="6084168" y="6067727"/>
            <a:ext cx="2602396" cy="7617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1BE8C17-17CA-4954-B2E4-DD045C65D181}"/>
              </a:ext>
            </a:extLst>
          </p:cNvPr>
          <p:cNvSpPr txBox="1"/>
          <p:nvPr/>
        </p:nvSpPr>
        <p:spPr>
          <a:xfrm>
            <a:off x="5436096" y="6020423"/>
            <a:ext cx="35283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r>
              <a:rPr lang="ru-RU" sz="1000" b="0" u="none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Главный врач ОБУЗ «Курская городская поликлиника №5»</a:t>
            </a:r>
          </a:p>
          <a:p>
            <a:r>
              <a:rPr lang="ru-RU" sz="1000" b="0" u="none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</a:t>
            </a:r>
            <a:r>
              <a:rPr lang="ru-RU" sz="1000" b="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____________       </a:t>
            </a:r>
            <a:r>
              <a:rPr lang="ru-RU" sz="1000" b="0" u="none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аркова С .А.</a:t>
            </a:r>
          </a:p>
        </p:txBody>
      </p:sp>
    </p:spTree>
    <p:extLst>
      <p:ext uri="{BB962C8B-B14F-4D97-AF65-F5344CB8AC3E}">
        <p14:creationId xmlns:p14="http://schemas.microsoft.com/office/powerpoint/2010/main" val="2853080271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8C8DBF38-B7E0-4EA9-8D51-80FB4578A645}"/>
              </a:ext>
            </a:extLst>
          </p:cNvPr>
          <p:cNvSpPr/>
          <p:nvPr/>
        </p:nvSpPr>
        <p:spPr>
          <a:xfrm>
            <a:off x="1081426" y="1290537"/>
            <a:ext cx="5866838" cy="504057"/>
          </a:xfrm>
          <a:prstGeom prst="rect">
            <a:avLst/>
          </a:prstGeom>
          <a:solidFill>
            <a:schemeClr val="bg1"/>
          </a:solidFill>
          <a:ln w="635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40945" y="0"/>
            <a:ext cx="1043608" cy="880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3"/>
          <p:cNvSpPr txBox="1">
            <a:spLocks noChangeArrowheads="1"/>
          </p:cNvSpPr>
          <p:nvPr/>
        </p:nvSpPr>
        <p:spPr>
          <a:xfrm>
            <a:off x="6012160" y="95638"/>
            <a:ext cx="2139426" cy="609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"/>
          <p:cNvSpPr txBox="1">
            <a:spLocks noChangeArrowheads="1"/>
          </p:cNvSpPr>
          <p:nvPr/>
        </p:nvSpPr>
        <p:spPr>
          <a:xfrm>
            <a:off x="1081426" y="94618"/>
            <a:ext cx="2139426" cy="609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825EEE-3C34-4BED-B1CF-2433F065045C}"/>
              </a:ext>
            </a:extLst>
          </p:cNvPr>
          <p:cNvSpPr txBox="1"/>
          <p:nvPr/>
        </p:nvSpPr>
        <p:spPr>
          <a:xfrm>
            <a:off x="278061" y="226962"/>
            <a:ext cx="84969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 процесса </a:t>
            </a:r>
          </a:p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роцесса инструментального обследования (электрокардиография) пациентов при оказании неотложной помощи на дому</a:t>
            </a:r>
          </a:p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                                                 (текущее состояние)</a:t>
            </a:r>
          </a:p>
        </p:txBody>
      </p:sp>
      <p:sp>
        <p:nvSpPr>
          <p:cNvPr id="61" name="Прямоугольник: один верхний угол скругленный, другой — усеченный 60">
            <a:extLst>
              <a:ext uri="{FF2B5EF4-FFF2-40B4-BE49-F238E27FC236}">
                <a16:creationId xmlns:a16="http://schemas.microsoft.com/office/drawing/2014/main" id="{4820265D-35FF-4FAD-A5B6-1F5C4FD78CEB}"/>
              </a:ext>
            </a:extLst>
          </p:cNvPr>
          <p:cNvSpPr/>
          <p:nvPr/>
        </p:nvSpPr>
        <p:spPr>
          <a:xfrm>
            <a:off x="539552" y="5302564"/>
            <a:ext cx="4896544" cy="1447194"/>
          </a:xfrm>
          <a:prstGeom prst="snip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ы: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ительное время ожидания медсестры для снятия ЭКГ (медсестра с кардиографом едет на машине из поликлиники к пациенту)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ительное время ожидания описания ЭКГ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ительное время ожидания скорой помощи</a:t>
            </a:r>
            <a:r>
              <a:rPr lang="en-US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marL="228600" indent="-228600" algn="just">
              <a:buAutoNum type="arabicPeriod"/>
            </a:pPr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marL="228600" indent="-228600" algn="just">
              <a:buAutoNum type="arabicPeriod"/>
            </a:pPr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marL="228600" indent="-228600" algn="just">
              <a:buAutoNum type="arabicPeriod"/>
            </a:pPr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marL="228600" indent="-228600" algn="just">
              <a:buAutoNum type="arabicPeriod"/>
            </a:pPr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algn="just"/>
            <a:endParaRPr lang="ru-RU" sz="1000" b="1" dirty="0">
              <a:solidFill>
                <a:schemeClr val="tx1"/>
              </a:solidFill>
              <a:latin typeface="Arial (Основной текст)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E577E74D-776E-498E-9D55-2CB4315349AF}"/>
              </a:ext>
            </a:extLst>
          </p:cNvPr>
          <p:cNvSpPr/>
          <p:nvPr/>
        </p:nvSpPr>
        <p:spPr>
          <a:xfrm>
            <a:off x="40945" y="1313913"/>
            <a:ext cx="921466" cy="50405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чало процесс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7E18552-5F84-4AEA-A217-493BAC85374A}"/>
              </a:ext>
            </a:extLst>
          </p:cNvPr>
          <p:cNvSpPr/>
          <p:nvPr/>
        </p:nvSpPr>
        <p:spPr>
          <a:xfrm>
            <a:off x="2331202" y="1406323"/>
            <a:ext cx="737084" cy="3192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вонит в </a:t>
            </a: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ll </a:t>
            </a:r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5CE880-F9EC-43B0-9D90-251F15063AC0}"/>
              </a:ext>
            </a:extLst>
          </p:cNvPr>
          <p:cNvSpPr txBox="1"/>
          <p:nvPr/>
        </p:nvSpPr>
        <p:spPr>
          <a:xfrm>
            <a:off x="1070827" y="1312393"/>
            <a:ext cx="11521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Пациент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27FE076F-451F-4A9E-AE06-E40695FAB298}"/>
              </a:ext>
            </a:extLst>
          </p:cNvPr>
          <p:cNvSpPr/>
          <p:nvPr/>
        </p:nvSpPr>
        <p:spPr>
          <a:xfrm>
            <a:off x="1071677" y="2723591"/>
            <a:ext cx="5877437" cy="740927"/>
          </a:xfrm>
          <a:prstGeom prst="rect">
            <a:avLst/>
          </a:prstGeom>
          <a:solidFill>
            <a:schemeClr val="bg1"/>
          </a:solidFill>
          <a:ln w="635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3CB3E02-9D92-4DED-B1CF-94368797569B}"/>
              </a:ext>
            </a:extLst>
          </p:cNvPr>
          <p:cNvSpPr txBox="1"/>
          <p:nvPr/>
        </p:nvSpPr>
        <p:spPr>
          <a:xfrm>
            <a:off x="1071539" y="2788511"/>
            <a:ext cx="1351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Врач вызова на дом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3EB68557-4540-4C7E-9E54-521BD2CF519B}"/>
              </a:ext>
            </a:extLst>
          </p:cNvPr>
          <p:cNvSpPr/>
          <p:nvPr/>
        </p:nvSpPr>
        <p:spPr>
          <a:xfrm>
            <a:off x="2093005" y="2997034"/>
            <a:ext cx="1127847" cy="32574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ач обслуживает вызов </a:t>
            </a:r>
          </a:p>
        </p:txBody>
      </p:sp>
      <p:cxnSp>
        <p:nvCxnSpPr>
          <p:cNvPr id="54" name="Прямая со стрелкой 53">
            <a:extLst>
              <a:ext uri="{FF2B5EF4-FFF2-40B4-BE49-F238E27FC236}">
                <a16:creationId xmlns:a16="http://schemas.microsoft.com/office/drawing/2014/main" id="{C15A28B3-F77A-4805-B2BA-9FBD1550DB77}"/>
              </a:ext>
            </a:extLst>
          </p:cNvPr>
          <p:cNvCxnSpPr>
            <a:cxnSpLocks/>
            <a:stCxn id="10" idx="6"/>
            <a:endCxn id="11" idx="1"/>
          </p:cNvCxnSpPr>
          <p:nvPr/>
        </p:nvCxnSpPr>
        <p:spPr>
          <a:xfrm>
            <a:off x="962411" y="1565941"/>
            <a:ext cx="136879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20F4A0BF-3033-4C43-B437-A8BF281E7D17}"/>
              </a:ext>
            </a:extLst>
          </p:cNvPr>
          <p:cNvSpPr/>
          <p:nvPr/>
        </p:nvSpPr>
        <p:spPr>
          <a:xfrm>
            <a:off x="1081426" y="1872810"/>
            <a:ext cx="5866838" cy="672177"/>
          </a:xfrm>
          <a:prstGeom prst="rect">
            <a:avLst/>
          </a:prstGeom>
          <a:solidFill>
            <a:schemeClr val="bg1"/>
          </a:solidFill>
          <a:ln w="635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AA12CA5-31B8-4CE2-A72C-B2FD0D04A2B3}"/>
              </a:ext>
            </a:extLst>
          </p:cNvPr>
          <p:cNvSpPr txBox="1"/>
          <p:nvPr/>
        </p:nvSpPr>
        <p:spPr>
          <a:xfrm>
            <a:off x="1043450" y="1880329"/>
            <a:ext cx="1351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Оператор </a:t>
            </a:r>
            <a:r>
              <a:rPr lang="en-US" sz="800" b="1" dirty="0"/>
              <a:t>Call </a:t>
            </a:r>
            <a:r>
              <a:rPr lang="ru-RU" sz="800" b="1" dirty="0"/>
              <a:t>центра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AB52BBE3-7F42-451A-8EA0-20029DEC189C}"/>
              </a:ext>
            </a:extLst>
          </p:cNvPr>
          <p:cNvSpPr/>
          <p:nvPr/>
        </p:nvSpPr>
        <p:spPr>
          <a:xfrm>
            <a:off x="2193541" y="2073940"/>
            <a:ext cx="1012406" cy="34557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 </a:t>
            </a: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</a:t>
            </a:r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а фиксирует вызов</a:t>
            </a:r>
          </a:p>
        </p:txBody>
      </p: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148F9EF4-4F8A-4C81-A075-F918763DD859}"/>
              </a:ext>
            </a:extLst>
          </p:cNvPr>
          <p:cNvCxnSpPr>
            <a:cxnSpLocks/>
            <a:stCxn id="11" idx="2"/>
            <a:endCxn id="63" idx="0"/>
          </p:cNvCxnSpPr>
          <p:nvPr/>
        </p:nvCxnSpPr>
        <p:spPr>
          <a:xfrm>
            <a:off x="2699744" y="1725559"/>
            <a:ext cx="0" cy="34838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>
            <a:extLst>
              <a:ext uri="{FF2B5EF4-FFF2-40B4-BE49-F238E27FC236}">
                <a16:creationId xmlns:a16="http://schemas.microsoft.com/office/drawing/2014/main" id="{3F60F462-030D-4DD8-AC9E-08DDB00E7044}"/>
              </a:ext>
            </a:extLst>
          </p:cNvPr>
          <p:cNvCxnSpPr>
            <a:cxnSpLocks/>
          </p:cNvCxnSpPr>
          <p:nvPr/>
        </p:nvCxnSpPr>
        <p:spPr>
          <a:xfrm>
            <a:off x="2683067" y="2412803"/>
            <a:ext cx="9473" cy="57685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E8EC0A50-C2D0-4092-9FD4-6412F33D953C}"/>
              </a:ext>
            </a:extLst>
          </p:cNvPr>
          <p:cNvSpPr/>
          <p:nvPr/>
        </p:nvSpPr>
        <p:spPr>
          <a:xfrm>
            <a:off x="1062563" y="4467886"/>
            <a:ext cx="5877437" cy="672177"/>
          </a:xfrm>
          <a:prstGeom prst="rect">
            <a:avLst/>
          </a:prstGeom>
          <a:solidFill>
            <a:schemeClr val="bg1"/>
          </a:solidFill>
          <a:ln w="635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932A0DD-CC1D-4C08-BF1C-9FCD778AED5B}"/>
              </a:ext>
            </a:extLst>
          </p:cNvPr>
          <p:cNvSpPr txBox="1"/>
          <p:nvPr/>
        </p:nvSpPr>
        <p:spPr>
          <a:xfrm>
            <a:off x="1082580" y="4457154"/>
            <a:ext cx="13515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Врач функциональной диагностики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5ED948A3-7529-4FC1-B859-54183D2731C9}"/>
              </a:ext>
            </a:extLst>
          </p:cNvPr>
          <p:cNvSpPr/>
          <p:nvPr/>
        </p:nvSpPr>
        <p:spPr>
          <a:xfrm>
            <a:off x="4027332" y="4632836"/>
            <a:ext cx="1119895" cy="32574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ач описывает ЭКГ</a:t>
            </a:r>
          </a:p>
        </p:txBody>
      </p:sp>
      <p:cxnSp>
        <p:nvCxnSpPr>
          <p:cNvPr id="75" name="Прямая со стрелкой 74">
            <a:extLst>
              <a:ext uri="{FF2B5EF4-FFF2-40B4-BE49-F238E27FC236}">
                <a16:creationId xmlns:a16="http://schemas.microsoft.com/office/drawing/2014/main" id="{E8E7CCB4-537E-4F21-9DD1-90021480D859}"/>
              </a:ext>
            </a:extLst>
          </p:cNvPr>
          <p:cNvCxnSpPr>
            <a:cxnSpLocks/>
          </p:cNvCxnSpPr>
          <p:nvPr/>
        </p:nvCxnSpPr>
        <p:spPr>
          <a:xfrm>
            <a:off x="3208396" y="3153862"/>
            <a:ext cx="78532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C3D7601F-0457-4B57-9E21-F428A0C12996}"/>
              </a:ext>
            </a:extLst>
          </p:cNvPr>
          <p:cNvSpPr/>
          <p:nvPr/>
        </p:nvSpPr>
        <p:spPr>
          <a:xfrm>
            <a:off x="4010396" y="2971632"/>
            <a:ext cx="1127848" cy="34074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зывает мед. сестру для снятия ЭКГ 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74B658EC-E176-4B98-9EC9-3026CC636240}"/>
              </a:ext>
            </a:extLst>
          </p:cNvPr>
          <p:cNvSpPr/>
          <p:nvPr/>
        </p:nvSpPr>
        <p:spPr>
          <a:xfrm>
            <a:off x="1070827" y="3662714"/>
            <a:ext cx="5877437" cy="672177"/>
          </a:xfrm>
          <a:prstGeom prst="rect">
            <a:avLst/>
          </a:prstGeom>
          <a:solidFill>
            <a:schemeClr val="bg1"/>
          </a:solidFill>
          <a:ln w="635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716AC8BE-2D1C-496E-98B7-D71C5C84498E}"/>
              </a:ext>
            </a:extLst>
          </p:cNvPr>
          <p:cNvSpPr txBox="1"/>
          <p:nvPr/>
        </p:nvSpPr>
        <p:spPr>
          <a:xfrm>
            <a:off x="1132742" y="3634837"/>
            <a:ext cx="1351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Медицинская сестра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95852EF7-0954-42CB-AE10-1B207658B3B6}"/>
              </a:ext>
            </a:extLst>
          </p:cNvPr>
          <p:cNvSpPr/>
          <p:nvPr/>
        </p:nvSpPr>
        <p:spPr>
          <a:xfrm>
            <a:off x="4015300" y="3798333"/>
            <a:ext cx="1119895" cy="32574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 сестра снимает ЭКГ</a:t>
            </a:r>
          </a:p>
        </p:txBody>
      </p:sp>
      <p:cxnSp>
        <p:nvCxnSpPr>
          <p:cNvPr id="88" name="Прямая со стрелкой 87">
            <a:extLst>
              <a:ext uri="{FF2B5EF4-FFF2-40B4-BE49-F238E27FC236}">
                <a16:creationId xmlns:a16="http://schemas.microsoft.com/office/drawing/2014/main" id="{C9497946-2D33-44C0-86CE-140B1C522913}"/>
              </a:ext>
            </a:extLst>
          </p:cNvPr>
          <p:cNvCxnSpPr>
            <a:cxnSpLocks/>
            <a:stCxn id="77" idx="2"/>
            <a:endCxn id="80" idx="0"/>
          </p:cNvCxnSpPr>
          <p:nvPr/>
        </p:nvCxnSpPr>
        <p:spPr>
          <a:xfrm>
            <a:off x="4574320" y="3312373"/>
            <a:ext cx="928" cy="48596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 стрелкой 90">
            <a:extLst>
              <a:ext uri="{FF2B5EF4-FFF2-40B4-BE49-F238E27FC236}">
                <a16:creationId xmlns:a16="http://schemas.microsoft.com/office/drawing/2014/main" id="{8BF7AC32-C4AE-4983-8CDE-CCD7E5E651CC}"/>
              </a:ext>
            </a:extLst>
          </p:cNvPr>
          <p:cNvCxnSpPr>
            <a:cxnSpLocks/>
          </p:cNvCxnSpPr>
          <p:nvPr/>
        </p:nvCxnSpPr>
        <p:spPr>
          <a:xfrm>
            <a:off x="4571107" y="4108309"/>
            <a:ext cx="0" cy="52452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7B55BFC1-B6F4-4EEA-A3FF-25370C69C443}"/>
              </a:ext>
            </a:extLst>
          </p:cNvPr>
          <p:cNvSpPr/>
          <p:nvPr/>
        </p:nvSpPr>
        <p:spPr>
          <a:xfrm>
            <a:off x="5622642" y="2901834"/>
            <a:ext cx="1261151" cy="48033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яет пациента в стационар</a:t>
            </a:r>
          </a:p>
        </p:txBody>
      </p:sp>
      <p:sp>
        <p:nvSpPr>
          <p:cNvPr id="110" name="Овал 109">
            <a:extLst>
              <a:ext uri="{FF2B5EF4-FFF2-40B4-BE49-F238E27FC236}">
                <a16:creationId xmlns:a16="http://schemas.microsoft.com/office/drawing/2014/main" id="{04A3F879-7E3A-4D32-9A5D-0069EAFBE3CE}"/>
              </a:ext>
            </a:extLst>
          </p:cNvPr>
          <p:cNvSpPr/>
          <p:nvPr/>
        </p:nvSpPr>
        <p:spPr>
          <a:xfrm>
            <a:off x="7596459" y="2889975"/>
            <a:ext cx="1063531" cy="50405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ончание процесса</a:t>
            </a:r>
          </a:p>
        </p:txBody>
      </p:sp>
      <p:cxnSp>
        <p:nvCxnSpPr>
          <p:cNvPr id="111" name="Прямая со стрелкой 110">
            <a:extLst>
              <a:ext uri="{FF2B5EF4-FFF2-40B4-BE49-F238E27FC236}">
                <a16:creationId xmlns:a16="http://schemas.microsoft.com/office/drawing/2014/main" id="{0B891FBB-C407-4232-A670-CAD5912E2AB3}"/>
              </a:ext>
            </a:extLst>
          </p:cNvPr>
          <p:cNvCxnSpPr>
            <a:cxnSpLocks/>
            <a:stCxn id="93" idx="3"/>
            <a:endCxn id="110" idx="2"/>
          </p:cNvCxnSpPr>
          <p:nvPr/>
        </p:nvCxnSpPr>
        <p:spPr>
          <a:xfrm>
            <a:off x="6883793" y="3142003"/>
            <a:ext cx="71266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9156A693-A989-4A78-8462-A10EA47DD784}"/>
              </a:ext>
            </a:extLst>
          </p:cNvPr>
          <p:cNvSpPr txBox="1"/>
          <p:nvPr/>
        </p:nvSpPr>
        <p:spPr>
          <a:xfrm>
            <a:off x="2692540" y="2563705"/>
            <a:ext cx="11521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25-120 мин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A432B559-886A-4C22-9FD0-480F2A6E027D}"/>
              </a:ext>
            </a:extLst>
          </p:cNvPr>
          <p:cNvSpPr txBox="1"/>
          <p:nvPr/>
        </p:nvSpPr>
        <p:spPr>
          <a:xfrm>
            <a:off x="3231867" y="2966491"/>
            <a:ext cx="11521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25-45 мин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42626FE6-CBAF-4F98-ABAA-E1D5D4A4CEA4}"/>
              </a:ext>
            </a:extLst>
          </p:cNvPr>
          <p:cNvSpPr txBox="1"/>
          <p:nvPr/>
        </p:nvSpPr>
        <p:spPr>
          <a:xfrm>
            <a:off x="4526533" y="3437966"/>
            <a:ext cx="11521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25-60 мин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E15AE961-24FD-4B6F-B36C-34012CDB3168}"/>
              </a:ext>
            </a:extLst>
          </p:cNvPr>
          <p:cNvSpPr txBox="1"/>
          <p:nvPr/>
        </p:nvSpPr>
        <p:spPr>
          <a:xfrm>
            <a:off x="4574460" y="4312365"/>
            <a:ext cx="11521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25-30  мин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56E1F9F3-275D-4A96-B651-9F5D8AEC6711}"/>
              </a:ext>
            </a:extLst>
          </p:cNvPr>
          <p:cNvSpPr txBox="1"/>
          <p:nvPr/>
        </p:nvSpPr>
        <p:spPr>
          <a:xfrm>
            <a:off x="2795667" y="4778206"/>
            <a:ext cx="11959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25-30  мин</a:t>
            </a:r>
          </a:p>
        </p:txBody>
      </p:sp>
      <p:sp>
        <p:nvSpPr>
          <p:cNvPr id="1028" name="Взрыв: 8 точек 1027">
            <a:extLst>
              <a:ext uri="{FF2B5EF4-FFF2-40B4-BE49-F238E27FC236}">
                <a16:creationId xmlns:a16="http://schemas.microsoft.com/office/drawing/2014/main" id="{48D4CE35-E24B-40AE-94BA-5C57608F486D}"/>
              </a:ext>
            </a:extLst>
          </p:cNvPr>
          <p:cNvSpPr/>
          <p:nvPr/>
        </p:nvSpPr>
        <p:spPr>
          <a:xfrm>
            <a:off x="4199676" y="3377929"/>
            <a:ext cx="358232" cy="357694"/>
          </a:xfrm>
          <a:prstGeom prst="irregularSeal1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38" name="Взрыв: 8 точек 137">
            <a:extLst>
              <a:ext uri="{FF2B5EF4-FFF2-40B4-BE49-F238E27FC236}">
                <a16:creationId xmlns:a16="http://schemas.microsoft.com/office/drawing/2014/main" id="{D7567F3E-CDAF-4C24-B958-931219872FC9}"/>
              </a:ext>
            </a:extLst>
          </p:cNvPr>
          <p:cNvSpPr/>
          <p:nvPr/>
        </p:nvSpPr>
        <p:spPr>
          <a:xfrm>
            <a:off x="3898462" y="4446280"/>
            <a:ext cx="358232" cy="357694"/>
          </a:xfrm>
          <a:prstGeom prst="irregularSeal1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39" name="Взрыв: 8 точек 138">
            <a:extLst>
              <a:ext uri="{FF2B5EF4-FFF2-40B4-BE49-F238E27FC236}">
                <a16:creationId xmlns:a16="http://schemas.microsoft.com/office/drawing/2014/main" id="{DA60D320-34B1-4BD6-BCE9-6C98D0B10E13}"/>
              </a:ext>
            </a:extLst>
          </p:cNvPr>
          <p:cNvSpPr/>
          <p:nvPr/>
        </p:nvSpPr>
        <p:spPr>
          <a:xfrm>
            <a:off x="2579870" y="3869818"/>
            <a:ext cx="358232" cy="357694"/>
          </a:xfrm>
          <a:prstGeom prst="irregularSeal1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2" name="Прямоугольник 141">
            <a:extLst>
              <a:ext uri="{FF2B5EF4-FFF2-40B4-BE49-F238E27FC236}">
                <a16:creationId xmlns:a16="http://schemas.microsoft.com/office/drawing/2014/main" id="{1CEA6CC3-DAB8-457E-9435-409BBD3EA8F7}"/>
              </a:ext>
            </a:extLst>
          </p:cNvPr>
          <p:cNvSpPr/>
          <p:nvPr/>
        </p:nvSpPr>
        <p:spPr>
          <a:xfrm>
            <a:off x="7182941" y="4611425"/>
            <a:ext cx="1592064" cy="10166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ПП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=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1мин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ПП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=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6мин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D6A88A83-9B28-4775-A382-245AF12B5DC4}"/>
              </a:ext>
            </a:extLst>
          </p:cNvPr>
          <p:cNvSpPr txBox="1"/>
          <p:nvPr/>
        </p:nvSpPr>
        <p:spPr>
          <a:xfrm>
            <a:off x="2683067" y="1760133"/>
            <a:ext cx="11521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1 мин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41C60D6A-A66F-416C-B8A7-7CC9E126D6A4}"/>
              </a:ext>
            </a:extLst>
          </p:cNvPr>
          <p:cNvSpPr txBox="1"/>
          <p:nvPr/>
        </p:nvSpPr>
        <p:spPr>
          <a:xfrm>
            <a:off x="2848857" y="4559406"/>
            <a:ext cx="1297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Звонит </a:t>
            </a:r>
          </a:p>
        </p:txBody>
      </p:sp>
      <p:cxnSp>
        <p:nvCxnSpPr>
          <p:cNvPr id="1035" name="Соединитель: уступ 1034">
            <a:extLst>
              <a:ext uri="{FF2B5EF4-FFF2-40B4-BE49-F238E27FC236}">
                <a16:creationId xmlns:a16="http://schemas.microsoft.com/office/drawing/2014/main" id="{4B79515E-396D-4DAB-B888-80E0C8954C4C}"/>
              </a:ext>
            </a:extLst>
          </p:cNvPr>
          <p:cNvCxnSpPr>
            <a:cxnSpLocks/>
            <a:stCxn id="138" idx="2"/>
            <a:endCxn id="51" idx="2"/>
          </p:cNvCxnSpPr>
          <p:nvPr/>
        </p:nvCxnSpPr>
        <p:spPr>
          <a:xfrm rot="5400000" flipH="1">
            <a:off x="2607459" y="3372249"/>
            <a:ext cx="1481196" cy="1382255"/>
          </a:xfrm>
          <a:prstGeom prst="bentConnector3">
            <a:avLst>
              <a:gd name="adj1" fmla="val 425"/>
            </a:avLst>
          </a:prstGeom>
          <a:ln w="28575">
            <a:solidFill>
              <a:srgbClr val="008E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2" name="Прямая соединительная линия 1051">
            <a:extLst>
              <a:ext uri="{FF2B5EF4-FFF2-40B4-BE49-F238E27FC236}">
                <a16:creationId xmlns:a16="http://schemas.microsoft.com/office/drawing/2014/main" id="{A8997C3A-23DE-451E-87AA-C3A33A01BC7D}"/>
              </a:ext>
            </a:extLst>
          </p:cNvPr>
          <p:cNvCxnSpPr/>
          <p:nvPr/>
        </p:nvCxnSpPr>
        <p:spPr>
          <a:xfrm flipV="1">
            <a:off x="2987824" y="2779149"/>
            <a:ext cx="0" cy="210506"/>
          </a:xfrm>
          <a:prstGeom prst="line">
            <a:avLst/>
          </a:prstGeom>
          <a:ln w="28575">
            <a:solidFill>
              <a:srgbClr val="008E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Прямая соединительная линия 1053">
            <a:extLst>
              <a:ext uri="{FF2B5EF4-FFF2-40B4-BE49-F238E27FC236}">
                <a16:creationId xmlns:a16="http://schemas.microsoft.com/office/drawing/2014/main" id="{8678F048-22D7-4B1B-8041-6B97712115CE}"/>
              </a:ext>
            </a:extLst>
          </p:cNvPr>
          <p:cNvCxnSpPr/>
          <p:nvPr/>
        </p:nvCxnSpPr>
        <p:spPr>
          <a:xfrm>
            <a:off x="2987824" y="2779149"/>
            <a:ext cx="3265393" cy="0"/>
          </a:xfrm>
          <a:prstGeom prst="line">
            <a:avLst/>
          </a:prstGeom>
          <a:ln w="28575">
            <a:solidFill>
              <a:srgbClr val="008E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6" name="Прямая со стрелкой 1055">
            <a:extLst>
              <a:ext uri="{FF2B5EF4-FFF2-40B4-BE49-F238E27FC236}">
                <a16:creationId xmlns:a16="http://schemas.microsoft.com/office/drawing/2014/main" id="{97EE6BF4-6F27-4B44-9EDC-1F7C7579F469}"/>
              </a:ext>
            </a:extLst>
          </p:cNvPr>
          <p:cNvCxnSpPr>
            <a:endCxn id="93" idx="0"/>
          </p:cNvCxnSpPr>
          <p:nvPr/>
        </p:nvCxnSpPr>
        <p:spPr>
          <a:xfrm>
            <a:off x="6253217" y="2788511"/>
            <a:ext cx="1" cy="113323"/>
          </a:xfrm>
          <a:prstGeom prst="straightConnector1">
            <a:avLst/>
          </a:prstGeom>
          <a:ln w="28575">
            <a:solidFill>
              <a:srgbClr val="008E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Box 167">
            <a:extLst>
              <a:ext uri="{FF2B5EF4-FFF2-40B4-BE49-F238E27FC236}">
                <a16:creationId xmlns:a16="http://schemas.microsoft.com/office/drawing/2014/main" id="{499A7502-BCF0-425D-90D0-72C659DF1947}"/>
              </a:ext>
            </a:extLst>
          </p:cNvPr>
          <p:cNvSpPr txBox="1"/>
          <p:nvPr/>
        </p:nvSpPr>
        <p:spPr>
          <a:xfrm>
            <a:off x="4077578" y="2443285"/>
            <a:ext cx="2218476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800" b="1" dirty="0"/>
              <a:t>При наличии показаний врач направляет пациента в стационар 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885F1B3-DDD2-43F2-9D35-548B25DA7F16}"/>
              </a:ext>
            </a:extLst>
          </p:cNvPr>
          <p:cNvSpPr txBox="1"/>
          <p:nvPr/>
        </p:nvSpPr>
        <p:spPr>
          <a:xfrm>
            <a:off x="3835435" y="2767550"/>
            <a:ext cx="11959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10-15 мин</a:t>
            </a:r>
          </a:p>
        </p:txBody>
      </p:sp>
    </p:spTree>
    <p:extLst>
      <p:ext uri="{BB962C8B-B14F-4D97-AF65-F5344CB8AC3E}">
        <p14:creationId xmlns:p14="http://schemas.microsoft.com/office/powerpoint/2010/main" val="165972220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8C8DBF38-B7E0-4EA9-8D51-80FB4578A645}"/>
              </a:ext>
            </a:extLst>
          </p:cNvPr>
          <p:cNvSpPr/>
          <p:nvPr/>
        </p:nvSpPr>
        <p:spPr>
          <a:xfrm>
            <a:off x="1081426" y="1290537"/>
            <a:ext cx="5866838" cy="504057"/>
          </a:xfrm>
          <a:prstGeom prst="rect">
            <a:avLst/>
          </a:prstGeom>
          <a:solidFill>
            <a:schemeClr val="bg1"/>
          </a:solidFill>
          <a:ln w="635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40945" y="0"/>
            <a:ext cx="1043608" cy="880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3"/>
          <p:cNvSpPr txBox="1">
            <a:spLocks noChangeArrowheads="1"/>
          </p:cNvSpPr>
          <p:nvPr/>
        </p:nvSpPr>
        <p:spPr>
          <a:xfrm>
            <a:off x="6012160" y="95638"/>
            <a:ext cx="2139426" cy="609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"/>
          <p:cNvSpPr txBox="1">
            <a:spLocks noChangeArrowheads="1"/>
          </p:cNvSpPr>
          <p:nvPr/>
        </p:nvSpPr>
        <p:spPr>
          <a:xfrm>
            <a:off x="1081426" y="94618"/>
            <a:ext cx="2139426" cy="609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825EEE-3C34-4BED-B1CF-2433F065045C}"/>
              </a:ext>
            </a:extLst>
          </p:cNvPr>
          <p:cNvSpPr txBox="1"/>
          <p:nvPr/>
        </p:nvSpPr>
        <p:spPr>
          <a:xfrm>
            <a:off x="278061" y="226962"/>
            <a:ext cx="84969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 процесса </a:t>
            </a:r>
          </a:p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роцесса инструментального обследования (электрокардиография) пациентов при оказании неотложной помощи на дому</a:t>
            </a:r>
          </a:p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                                                 (целевое состояние)</a:t>
            </a:r>
          </a:p>
        </p:txBody>
      </p:sp>
      <p:sp>
        <p:nvSpPr>
          <p:cNvPr id="61" name="Прямоугольник: один верхний угол скругленный, другой — усеченный 60">
            <a:extLst>
              <a:ext uri="{FF2B5EF4-FFF2-40B4-BE49-F238E27FC236}">
                <a16:creationId xmlns:a16="http://schemas.microsoft.com/office/drawing/2014/main" id="{4820265D-35FF-4FAD-A5B6-1F5C4FD78CEB}"/>
              </a:ext>
            </a:extLst>
          </p:cNvPr>
          <p:cNvSpPr/>
          <p:nvPr/>
        </p:nvSpPr>
        <p:spPr>
          <a:xfrm>
            <a:off x="683568" y="5434352"/>
            <a:ext cx="5463039" cy="1183616"/>
          </a:xfrm>
          <a:prstGeom prst="snip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:</a:t>
            </a:r>
          </a:p>
          <a:p>
            <a:pPr marL="228600" indent="-228600" algn="just"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Arial (Основной текст)"/>
              </a:rPr>
              <a:t>Наладить взаимодействие с специализированным  кардиологическим центром </a:t>
            </a:r>
          </a:p>
          <a:p>
            <a:pPr marL="228600" indent="-228600" algn="just"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Arial (Основной текст)"/>
              </a:rPr>
              <a:t>Обеспечить врача неотложной помощи портативным электрокардиографом.</a:t>
            </a:r>
          </a:p>
          <a:p>
            <a:pPr marL="228600" indent="-228600" algn="just"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Arial (Основной текст)"/>
              </a:rPr>
              <a:t>Разработать СОП в случае кардиологического обследования при  оказании неотложной помощи на дому.</a:t>
            </a:r>
          </a:p>
          <a:p>
            <a:pPr marL="228600" indent="-228600" algn="just">
              <a:buFontTx/>
              <a:buAutoNum type="arabicPeriod"/>
            </a:pPr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marL="228600" indent="-228600" algn="just">
              <a:buAutoNum type="arabicPeriod"/>
            </a:pPr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marL="228600" indent="-228600" algn="just">
              <a:buAutoNum type="arabicPeriod"/>
            </a:pPr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marL="228600" indent="-228600" algn="just">
              <a:buAutoNum type="arabicPeriod"/>
            </a:pPr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marL="228600" indent="-228600" algn="just">
              <a:buAutoNum type="arabicPeriod"/>
            </a:pPr>
            <a:endParaRPr lang="ru-RU" sz="1000" dirty="0">
              <a:solidFill>
                <a:schemeClr val="tx1"/>
              </a:solidFill>
              <a:latin typeface="Arial (Основной текст)"/>
            </a:endParaRPr>
          </a:p>
          <a:p>
            <a:pPr algn="just"/>
            <a:endParaRPr lang="ru-RU" sz="1000" b="1" dirty="0">
              <a:solidFill>
                <a:schemeClr val="tx1"/>
              </a:solidFill>
              <a:latin typeface="Arial (Основной текст)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E577E74D-776E-498E-9D55-2CB4315349AF}"/>
              </a:ext>
            </a:extLst>
          </p:cNvPr>
          <p:cNvSpPr/>
          <p:nvPr/>
        </p:nvSpPr>
        <p:spPr>
          <a:xfrm>
            <a:off x="40945" y="1313913"/>
            <a:ext cx="921466" cy="50405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чало процесс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7E18552-5F84-4AEA-A217-493BAC85374A}"/>
              </a:ext>
            </a:extLst>
          </p:cNvPr>
          <p:cNvSpPr/>
          <p:nvPr/>
        </p:nvSpPr>
        <p:spPr>
          <a:xfrm>
            <a:off x="2331202" y="1406323"/>
            <a:ext cx="737084" cy="3192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вонит в </a:t>
            </a: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ll </a:t>
            </a:r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5CE880-F9EC-43B0-9D90-251F15063AC0}"/>
              </a:ext>
            </a:extLst>
          </p:cNvPr>
          <p:cNvSpPr txBox="1"/>
          <p:nvPr/>
        </p:nvSpPr>
        <p:spPr>
          <a:xfrm>
            <a:off x="1070827" y="1312393"/>
            <a:ext cx="11521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Пациент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27FE076F-451F-4A9E-AE06-E40695FAB298}"/>
              </a:ext>
            </a:extLst>
          </p:cNvPr>
          <p:cNvSpPr/>
          <p:nvPr/>
        </p:nvSpPr>
        <p:spPr>
          <a:xfrm>
            <a:off x="1071677" y="2851492"/>
            <a:ext cx="5877437" cy="672177"/>
          </a:xfrm>
          <a:prstGeom prst="rect">
            <a:avLst/>
          </a:prstGeom>
          <a:solidFill>
            <a:schemeClr val="bg1"/>
          </a:solidFill>
          <a:ln w="635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3CB3E02-9D92-4DED-B1CF-94368797569B}"/>
              </a:ext>
            </a:extLst>
          </p:cNvPr>
          <p:cNvSpPr txBox="1"/>
          <p:nvPr/>
        </p:nvSpPr>
        <p:spPr>
          <a:xfrm>
            <a:off x="1071539" y="2847662"/>
            <a:ext cx="1351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Врач вызова на дом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3EB68557-4540-4C7E-9E54-521BD2CF519B}"/>
              </a:ext>
            </a:extLst>
          </p:cNvPr>
          <p:cNvSpPr/>
          <p:nvPr/>
        </p:nvSpPr>
        <p:spPr>
          <a:xfrm>
            <a:off x="2093005" y="3056185"/>
            <a:ext cx="1127847" cy="38513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ач обслуживает вызов, снимает ЭКГ</a:t>
            </a:r>
          </a:p>
        </p:txBody>
      </p:sp>
      <p:cxnSp>
        <p:nvCxnSpPr>
          <p:cNvPr id="54" name="Прямая со стрелкой 53">
            <a:extLst>
              <a:ext uri="{FF2B5EF4-FFF2-40B4-BE49-F238E27FC236}">
                <a16:creationId xmlns:a16="http://schemas.microsoft.com/office/drawing/2014/main" id="{C15A28B3-F77A-4805-B2BA-9FBD1550DB77}"/>
              </a:ext>
            </a:extLst>
          </p:cNvPr>
          <p:cNvCxnSpPr>
            <a:cxnSpLocks/>
            <a:stCxn id="10" idx="6"/>
            <a:endCxn id="11" idx="1"/>
          </p:cNvCxnSpPr>
          <p:nvPr/>
        </p:nvCxnSpPr>
        <p:spPr>
          <a:xfrm>
            <a:off x="962411" y="1565941"/>
            <a:ext cx="136879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20F4A0BF-3033-4C43-B437-A8BF281E7D17}"/>
              </a:ext>
            </a:extLst>
          </p:cNvPr>
          <p:cNvSpPr/>
          <p:nvPr/>
        </p:nvSpPr>
        <p:spPr>
          <a:xfrm>
            <a:off x="1081426" y="1931961"/>
            <a:ext cx="5866838" cy="672177"/>
          </a:xfrm>
          <a:prstGeom prst="rect">
            <a:avLst/>
          </a:prstGeom>
          <a:solidFill>
            <a:schemeClr val="bg1"/>
          </a:solidFill>
          <a:ln w="635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AA12CA5-31B8-4CE2-A72C-B2FD0D04A2B3}"/>
              </a:ext>
            </a:extLst>
          </p:cNvPr>
          <p:cNvSpPr txBox="1"/>
          <p:nvPr/>
        </p:nvSpPr>
        <p:spPr>
          <a:xfrm>
            <a:off x="1043450" y="1939480"/>
            <a:ext cx="1351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Оператор </a:t>
            </a:r>
            <a:r>
              <a:rPr lang="en-US" sz="800" b="1" dirty="0"/>
              <a:t>Call </a:t>
            </a:r>
            <a:r>
              <a:rPr lang="ru-RU" sz="800" b="1" dirty="0"/>
              <a:t>центра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AB52BBE3-7F42-451A-8EA0-20029DEC189C}"/>
              </a:ext>
            </a:extLst>
          </p:cNvPr>
          <p:cNvSpPr/>
          <p:nvPr/>
        </p:nvSpPr>
        <p:spPr>
          <a:xfrm>
            <a:off x="2193541" y="2133091"/>
            <a:ext cx="1012406" cy="34557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 </a:t>
            </a: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</a:t>
            </a:r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а фиксирует вызов</a:t>
            </a:r>
          </a:p>
        </p:txBody>
      </p: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148F9EF4-4F8A-4C81-A075-F918763DD859}"/>
              </a:ext>
            </a:extLst>
          </p:cNvPr>
          <p:cNvCxnSpPr>
            <a:cxnSpLocks/>
            <a:stCxn id="11" idx="2"/>
            <a:endCxn id="63" idx="0"/>
          </p:cNvCxnSpPr>
          <p:nvPr/>
        </p:nvCxnSpPr>
        <p:spPr>
          <a:xfrm>
            <a:off x="2699744" y="1725559"/>
            <a:ext cx="0" cy="40753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>
            <a:extLst>
              <a:ext uri="{FF2B5EF4-FFF2-40B4-BE49-F238E27FC236}">
                <a16:creationId xmlns:a16="http://schemas.microsoft.com/office/drawing/2014/main" id="{3F60F462-030D-4DD8-AC9E-08DDB00E7044}"/>
              </a:ext>
            </a:extLst>
          </p:cNvPr>
          <p:cNvCxnSpPr>
            <a:cxnSpLocks/>
          </p:cNvCxnSpPr>
          <p:nvPr/>
        </p:nvCxnSpPr>
        <p:spPr>
          <a:xfrm>
            <a:off x="2683067" y="2471954"/>
            <a:ext cx="9473" cy="57685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74B658EC-E176-4B98-9EC9-3026CC636240}"/>
              </a:ext>
            </a:extLst>
          </p:cNvPr>
          <p:cNvSpPr/>
          <p:nvPr/>
        </p:nvSpPr>
        <p:spPr>
          <a:xfrm>
            <a:off x="1070827" y="3721865"/>
            <a:ext cx="5877437" cy="672177"/>
          </a:xfrm>
          <a:prstGeom prst="rect">
            <a:avLst/>
          </a:prstGeom>
          <a:solidFill>
            <a:schemeClr val="bg1"/>
          </a:solidFill>
          <a:ln w="635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716AC8BE-2D1C-496E-98B7-D71C5C84498E}"/>
              </a:ext>
            </a:extLst>
          </p:cNvPr>
          <p:cNvSpPr txBox="1"/>
          <p:nvPr/>
        </p:nvSpPr>
        <p:spPr>
          <a:xfrm>
            <a:off x="1132742" y="3693988"/>
            <a:ext cx="1898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Специализированный  кардиологический центр (для диагностики)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95852EF7-0954-42CB-AE10-1B207658B3B6}"/>
              </a:ext>
            </a:extLst>
          </p:cNvPr>
          <p:cNvSpPr/>
          <p:nvPr/>
        </p:nvSpPr>
        <p:spPr>
          <a:xfrm>
            <a:off x="3385729" y="3840648"/>
            <a:ext cx="1204772" cy="32574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ботка ЭКГ, передача результата</a:t>
            </a: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7B55BFC1-B6F4-4EEA-A3FF-25370C69C443}"/>
              </a:ext>
            </a:extLst>
          </p:cNvPr>
          <p:cNvSpPr/>
          <p:nvPr/>
        </p:nvSpPr>
        <p:spPr>
          <a:xfrm>
            <a:off x="5589899" y="2961768"/>
            <a:ext cx="1261151" cy="48033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оказаниям врач направляет пациента в стационар</a:t>
            </a:r>
          </a:p>
        </p:txBody>
      </p:sp>
      <p:sp>
        <p:nvSpPr>
          <p:cNvPr id="110" name="Овал 109">
            <a:extLst>
              <a:ext uri="{FF2B5EF4-FFF2-40B4-BE49-F238E27FC236}">
                <a16:creationId xmlns:a16="http://schemas.microsoft.com/office/drawing/2014/main" id="{04A3F879-7E3A-4D32-9A5D-0069EAFBE3CE}"/>
              </a:ext>
            </a:extLst>
          </p:cNvPr>
          <p:cNvSpPr/>
          <p:nvPr/>
        </p:nvSpPr>
        <p:spPr>
          <a:xfrm>
            <a:off x="7596459" y="2949126"/>
            <a:ext cx="1063531" cy="50405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ончание процесса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9156A693-A989-4A78-8462-A10EA47DD784}"/>
              </a:ext>
            </a:extLst>
          </p:cNvPr>
          <p:cNvSpPr txBox="1"/>
          <p:nvPr/>
        </p:nvSpPr>
        <p:spPr>
          <a:xfrm>
            <a:off x="2692540" y="2622856"/>
            <a:ext cx="11521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25-120 мин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42626FE6-CBAF-4F98-ABAA-E1D5D4A4CEA4}"/>
              </a:ext>
            </a:extLst>
          </p:cNvPr>
          <p:cNvSpPr txBox="1"/>
          <p:nvPr/>
        </p:nvSpPr>
        <p:spPr>
          <a:xfrm>
            <a:off x="3498607" y="3457085"/>
            <a:ext cx="11521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10 мин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56E1F9F3-275D-4A96-B651-9F5D8AEC6711}"/>
              </a:ext>
            </a:extLst>
          </p:cNvPr>
          <p:cNvSpPr txBox="1"/>
          <p:nvPr/>
        </p:nvSpPr>
        <p:spPr>
          <a:xfrm>
            <a:off x="4752540" y="3527783"/>
            <a:ext cx="11424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10-25  мин</a:t>
            </a:r>
          </a:p>
        </p:txBody>
      </p:sp>
      <p:cxnSp>
        <p:nvCxnSpPr>
          <p:cNvPr id="8" name="Соединитель: уступ 7">
            <a:extLst>
              <a:ext uri="{FF2B5EF4-FFF2-40B4-BE49-F238E27FC236}">
                <a16:creationId xmlns:a16="http://schemas.microsoft.com/office/drawing/2014/main" id="{2609945E-E4BA-4B77-9A14-E4BE777154ED}"/>
              </a:ext>
            </a:extLst>
          </p:cNvPr>
          <p:cNvCxnSpPr>
            <a:cxnSpLocks/>
            <a:stCxn id="80" idx="3"/>
            <a:endCxn id="59" idx="2"/>
          </p:cNvCxnSpPr>
          <p:nvPr/>
        </p:nvCxnSpPr>
        <p:spPr>
          <a:xfrm flipV="1">
            <a:off x="4590501" y="3343405"/>
            <a:ext cx="65510" cy="660115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181817C6-B83A-40F6-B3AC-28D24FFA8951}"/>
              </a:ext>
            </a:extLst>
          </p:cNvPr>
          <p:cNvSpPr txBox="1"/>
          <p:nvPr/>
        </p:nvSpPr>
        <p:spPr>
          <a:xfrm>
            <a:off x="2683067" y="1760133"/>
            <a:ext cx="11521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1 мин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F727A24B-D5A0-4465-9CBE-CA9107BDC157}"/>
              </a:ext>
            </a:extLst>
          </p:cNvPr>
          <p:cNvSpPr/>
          <p:nvPr/>
        </p:nvSpPr>
        <p:spPr>
          <a:xfrm>
            <a:off x="7102318" y="4581128"/>
            <a:ext cx="1592064" cy="10166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ПП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=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8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ПП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=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</a:t>
            </a:r>
          </a:p>
        </p:txBody>
      </p:sp>
      <p:cxnSp>
        <p:nvCxnSpPr>
          <p:cNvPr id="15" name="Соединитель: уступ 14">
            <a:extLst>
              <a:ext uri="{FF2B5EF4-FFF2-40B4-BE49-F238E27FC236}">
                <a16:creationId xmlns:a16="http://schemas.microsoft.com/office/drawing/2014/main" id="{3CC22C9B-A986-4529-B5BC-83A4F6EC6C63}"/>
              </a:ext>
            </a:extLst>
          </p:cNvPr>
          <p:cNvCxnSpPr>
            <a:endCxn id="80" idx="0"/>
          </p:cNvCxnSpPr>
          <p:nvPr/>
        </p:nvCxnSpPr>
        <p:spPr>
          <a:xfrm>
            <a:off x="3220852" y="3248754"/>
            <a:ext cx="767263" cy="591894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928CEAF0-0B8E-462C-83DB-A97B872063A5}"/>
              </a:ext>
            </a:extLst>
          </p:cNvPr>
          <p:cNvSpPr/>
          <p:nvPr/>
        </p:nvSpPr>
        <p:spPr>
          <a:xfrm>
            <a:off x="4205866" y="2978762"/>
            <a:ext cx="900290" cy="3646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ает результат ЭКГ</a:t>
            </a:r>
          </a:p>
        </p:txBody>
      </p:sp>
      <p:cxnSp>
        <p:nvCxnSpPr>
          <p:cNvPr id="65" name="Прямая со стрелкой 64">
            <a:extLst>
              <a:ext uri="{FF2B5EF4-FFF2-40B4-BE49-F238E27FC236}">
                <a16:creationId xmlns:a16="http://schemas.microsoft.com/office/drawing/2014/main" id="{52DFA5F1-F13E-4365-99C1-39ADCFCA8E8C}"/>
              </a:ext>
            </a:extLst>
          </p:cNvPr>
          <p:cNvCxnSpPr>
            <a:cxnSpLocks/>
          </p:cNvCxnSpPr>
          <p:nvPr/>
        </p:nvCxnSpPr>
        <p:spPr>
          <a:xfrm>
            <a:off x="5106156" y="3137169"/>
            <a:ext cx="48374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12D22894-AE3D-4E82-973D-C51D2D60CF21}"/>
              </a:ext>
            </a:extLst>
          </p:cNvPr>
          <p:cNvSpPr txBox="1"/>
          <p:nvPr/>
        </p:nvSpPr>
        <p:spPr>
          <a:xfrm>
            <a:off x="5078025" y="2949126"/>
            <a:ext cx="11424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/>
              <a:t>12  мин</a:t>
            </a:r>
          </a:p>
        </p:txBody>
      </p:sp>
      <p:cxnSp>
        <p:nvCxnSpPr>
          <p:cNvPr id="71" name="Прямая со стрелкой 70">
            <a:extLst>
              <a:ext uri="{FF2B5EF4-FFF2-40B4-BE49-F238E27FC236}">
                <a16:creationId xmlns:a16="http://schemas.microsoft.com/office/drawing/2014/main" id="{7F74C49B-EC35-4B61-AA59-262B1FAE7D87}"/>
              </a:ext>
            </a:extLst>
          </p:cNvPr>
          <p:cNvCxnSpPr>
            <a:cxnSpLocks/>
            <a:stCxn id="93" idx="3"/>
            <a:endCxn id="110" idx="2"/>
          </p:cNvCxnSpPr>
          <p:nvPr/>
        </p:nvCxnSpPr>
        <p:spPr>
          <a:xfrm flipV="1">
            <a:off x="6851050" y="3201154"/>
            <a:ext cx="745409" cy="78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17743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4">
            <a:extLst>
              <a:ext uri="{FF2B5EF4-FFF2-40B4-BE49-F238E27FC236}">
                <a16:creationId xmlns:a16="http://schemas.microsoft.com/office/drawing/2014/main" id="{62774DD0-E5B4-4578-93D0-802FB2FE2F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47300"/>
            <a:ext cx="1847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12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79B4FD5-FA9D-4E6E-8FDE-9D8B3182EC09}"/>
              </a:ext>
            </a:extLst>
          </p:cNvPr>
          <p:cNvSpPr txBox="1"/>
          <p:nvPr/>
        </p:nvSpPr>
        <p:spPr>
          <a:xfrm>
            <a:off x="5458541" y="725506"/>
            <a:ext cx="3217915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адить взаимодействие с специализированным центром (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диосервером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28600" indent="-228600" algn="just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ть врача неотложной помощи портативным электрокардиографом.</a:t>
            </a:r>
          </a:p>
          <a:p>
            <a:pPr algn="just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7464023C-ED2E-48F9-9051-5BFCA258E3E2}"/>
              </a:ext>
            </a:extLst>
          </p:cNvPr>
          <p:cNvSpPr/>
          <p:nvPr/>
        </p:nvSpPr>
        <p:spPr>
          <a:xfrm>
            <a:off x="611560" y="547300"/>
            <a:ext cx="3672408" cy="50543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гое ожидание пациентом госпитализации по показаниям ССЗ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A90C420-9CA0-4541-B071-19E1E7C0C31B}"/>
              </a:ext>
            </a:extLst>
          </p:cNvPr>
          <p:cNvGrpSpPr/>
          <p:nvPr/>
        </p:nvGrpSpPr>
        <p:grpSpPr>
          <a:xfrm>
            <a:off x="1547664" y="1036760"/>
            <a:ext cx="1714954" cy="462014"/>
            <a:chOff x="1920941" y="1022770"/>
            <a:chExt cx="1714954" cy="462014"/>
          </a:xfrm>
        </p:grpSpPr>
        <p:sp>
          <p:nvSpPr>
            <p:cNvPr id="11" name="Равнобедренный треугольник 10">
              <a:extLst>
                <a:ext uri="{FF2B5EF4-FFF2-40B4-BE49-F238E27FC236}">
                  <a16:creationId xmlns:a16="http://schemas.microsoft.com/office/drawing/2014/main" id="{4BBCC636-7EDD-4F0C-A8DB-EEF8217E2412}"/>
                </a:ext>
              </a:extLst>
            </p:cNvPr>
            <p:cNvSpPr/>
            <p:nvPr/>
          </p:nvSpPr>
          <p:spPr>
            <a:xfrm rot="10800000">
              <a:off x="1920941" y="1077829"/>
              <a:ext cx="1714954" cy="406955"/>
            </a:xfrm>
            <a:prstGeom prst="triangle">
              <a:avLst>
                <a:gd name="adj" fmla="val 50978"/>
              </a:avLst>
            </a:prstGeom>
            <a:solidFill>
              <a:srgbClr val="ECF4FA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A67D710-B3CA-458F-93BD-08E1ACF36808}"/>
                </a:ext>
              </a:extLst>
            </p:cNvPr>
            <p:cNvSpPr txBox="1"/>
            <p:nvPr/>
          </p:nvSpPr>
          <p:spPr>
            <a:xfrm>
              <a:off x="2353562" y="1022770"/>
              <a:ext cx="12241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0070C0"/>
                  </a:solidFill>
                </a:rPr>
                <a:t>Почему?</a:t>
              </a:r>
            </a:p>
          </p:txBody>
        </p:sp>
      </p:grpSp>
      <p:sp>
        <p:nvSpPr>
          <p:cNvPr id="34" name="Прямоугольник: скругленные углы 33">
            <a:extLst>
              <a:ext uri="{FF2B5EF4-FFF2-40B4-BE49-F238E27FC236}">
                <a16:creationId xmlns:a16="http://schemas.microsoft.com/office/drawing/2014/main" id="{4254E973-2411-4867-B4CC-C6C28BC42E88}"/>
              </a:ext>
            </a:extLst>
          </p:cNvPr>
          <p:cNvSpPr/>
          <p:nvPr/>
        </p:nvSpPr>
        <p:spPr>
          <a:xfrm>
            <a:off x="633533" y="1537858"/>
            <a:ext cx="3672408" cy="50543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гое ожидание врачом описания результатов электрокардиограммы</a:t>
            </a: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ECCC250B-A418-4FC3-B4C7-48ED89EB7E62}"/>
              </a:ext>
            </a:extLst>
          </p:cNvPr>
          <p:cNvGrpSpPr/>
          <p:nvPr/>
        </p:nvGrpSpPr>
        <p:grpSpPr>
          <a:xfrm>
            <a:off x="1612260" y="2017538"/>
            <a:ext cx="1714954" cy="462014"/>
            <a:chOff x="1920941" y="1022770"/>
            <a:chExt cx="1714954" cy="462014"/>
          </a:xfrm>
        </p:grpSpPr>
        <p:sp>
          <p:nvSpPr>
            <p:cNvPr id="36" name="Равнобедренный треугольник 35">
              <a:extLst>
                <a:ext uri="{FF2B5EF4-FFF2-40B4-BE49-F238E27FC236}">
                  <a16:creationId xmlns:a16="http://schemas.microsoft.com/office/drawing/2014/main" id="{6FA282B4-8B07-4219-B86F-F2DB8BA72FAC}"/>
                </a:ext>
              </a:extLst>
            </p:cNvPr>
            <p:cNvSpPr/>
            <p:nvPr/>
          </p:nvSpPr>
          <p:spPr>
            <a:xfrm rot="10800000">
              <a:off x="1920941" y="1077829"/>
              <a:ext cx="1714954" cy="406955"/>
            </a:xfrm>
            <a:prstGeom prst="triangle">
              <a:avLst>
                <a:gd name="adj" fmla="val 50978"/>
              </a:avLst>
            </a:prstGeom>
            <a:solidFill>
              <a:srgbClr val="ECF4FA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6CBCDEB-679A-4EBB-9ABE-6256A8B2FA97}"/>
                </a:ext>
              </a:extLst>
            </p:cNvPr>
            <p:cNvSpPr txBox="1"/>
            <p:nvPr/>
          </p:nvSpPr>
          <p:spPr>
            <a:xfrm>
              <a:off x="2353562" y="1022770"/>
              <a:ext cx="12241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0070C0"/>
                  </a:solidFill>
                </a:rPr>
                <a:t>Почему?</a:t>
              </a:r>
            </a:p>
          </p:txBody>
        </p:sp>
      </p:grp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543CBE13-5CC1-463E-A246-5A5FD2D35184}"/>
              </a:ext>
            </a:extLst>
          </p:cNvPr>
          <p:cNvSpPr/>
          <p:nvPr/>
        </p:nvSpPr>
        <p:spPr>
          <a:xfrm>
            <a:off x="633533" y="2506341"/>
            <a:ext cx="3672408" cy="50543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гое ожидание пока мед сестра снимет ЭКГ и передаст на описание врачу функциональной диагностики</a:t>
            </a:r>
          </a:p>
        </p:txBody>
      </p:sp>
      <p:sp>
        <p:nvSpPr>
          <p:cNvPr id="16" name="Блок-схема: знак завершения 15">
            <a:extLst>
              <a:ext uri="{FF2B5EF4-FFF2-40B4-BE49-F238E27FC236}">
                <a16:creationId xmlns:a16="http://schemas.microsoft.com/office/drawing/2014/main" id="{4B061AA7-BC98-4138-9298-E8BEA0B4A871}"/>
              </a:ext>
            </a:extLst>
          </p:cNvPr>
          <p:cNvSpPr/>
          <p:nvPr/>
        </p:nvSpPr>
        <p:spPr>
          <a:xfrm>
            <a:off x="4930663" y="404664"/>
            <a:ext cx="3814875" cy="314995"/>
          </a:xfrm>
          <a:prstGeom prst="flowChartTerminator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712C458-F60E-43C6-AE86-2F9F4D88FC83}"/>
              </a:ext>
            </a:extLst>
          </p:cNvPr>
          <p:cNvSpPr/>
          <p:nvPr/>
        </p:nvSpPr>
        <p:spPr>
          <a:xfrm>
            <a:off x="4918035" y="404664"/>
            <a:ext cx="374045" cy="30963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5F5099B-DB49-4EC9-9A63-A4CE89BC347D}"/>
              </a:ext>
            </a:extLst>
          </p:cNvPr>
          <p:cNvSpPr txBox="1"/>
          <p:nvPr/>
        </p:nvSpPr>
        <p:spPr>
          <a:xfrm>
            <a:off x="6285614" y="362106"/>
            <a:ext cx="144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МЕРЫ</a:t>
            </a: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D09F6675-F7A7-4912-913D-D4DFB175D732}"/>
              </a:ext>
            </a:extLst>
          </p:cNvPr>
          <p:cNvGrpSpPr/>
          <p:nvPr/>
        </p:nvGrpSpPr>
        <p:grpSpPr>
          <a:xfrm>
            <a:off x="2851000" y="3011777"/>
            <a:ext cx="1432968" cy="308530"/>
            <a:chOff x="1920941" y="989890"/>
            <a:chExt cx="1714954" cy="494894"/>
          </a:xfrm>
        </p:grpSpPr>
        <p:sp>
          <p:nvSpPr>
            <p:cNvPr id="44" name="Равнобедренный треугольник 43">
              <a:extLst>
                <a:ext uri="{FF2B5EF4-FFF2-40B4-BE49-F238E27FC236}">
                  <a16:creationId xmlns:a16="http://schemas.microsoft.com/office/drawing/2014/main" id="{B3F06103-8DC4-42DD-BBFB-995D37E997DD}"/>
                </a:ext>
              </a:extLst>
            </p:cNvPr>
            <p:cNvSpPr/>
            <p:nvPr/>
          </p:nvSpPr>
          <p:spPr>
            <a:xfrm rot="10800000">
              <a:off x="1920941" y="1077829"/>
              <a:ext cx="1714954" cy="406955"/>
            </a:xfrm>
            <a:prstGeom prst="triangle">
              <a:avLst>
                <a:gd name="adj" fmla="val 50978"/>
              </a:avLst>
            </a:prstGeom>
            <a:solidFill>
              <a:srgbClr val="ECF4FA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943BBE5-E7FA-472A-8C32-C5B970F3354A}"/>
                </a:ext>
              </a:extLst>
            </p:cNvPr>
            <p:cNvSpPr txBox="1"/>
            <p:nvPr/>
          </p:nvSpPr>
          <p:spPr>
            <a:xfrm>
              <a:off x="2257046" y="989890"/>
              <a:ext cx="1224136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0070C0"/>
                  </a:solidFill>
                </a:rPr>
                <a:t>Почему?</a:t>
              </a:r>
            </a:p>
          </p:txBody>
        </p: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294BAA10-E2CB-4D38-BDA9-B92625E99741}"/>
              </a:ext>
            </a:extLst>
          </p:cNvPr>
          <p:cNvGrpSpPr/>
          <p:nvPr/>
        </p:nvGrpSpPr>
        <p:grpSpPr>
          <a:xfrm>
            <a:off x="783965" y="3011777"/>
            <a:ext cx="1432968" cy="308530"/>
            <a:chOff x="1920941" y="989890"/>
            <a:chExt cx="1714954" cy="494894"/>
          </a:xfrm>
        </p:grpSpPr>
        <p:sp>
          <p:nvSpPr>
            <p:cNvPr id="47" name="Равнобедренный треугольник 46">
              <a:extLst>
                <a:ext uri="{FF2B5EF4-FFF2-40B4-BE49-F238E27FC236}">
                  <a16:creationId xmlns:a16="http://schemas.microsoft.com/office/drawing/2014/main" id="{10AF3F16-652B-4924-B2A4-28D2294AA779}"/>
                </a:ext>
              </a:extLst>
            </p:cNvPr>
            <p:cNvSpPr/>
            <p:nvPr/>
          </p:nvSpPr>
          <p:spPr>
            <a:xfrm rot="10800000">
              <a:off x="1920941" y="1077829"/>
              <a:ext cx="1714954" cy="406955"/>
            </a:xfrm>
            <a:prstGeom prst="triangle">
              <a:avLst>
                <a:gd name="adj" fmla="val 50978"/>
              </a:avLst>
            </a:prstGeom>
            <a:solidFill>
              <a:srgbClr val="ECF4FA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861D666-54B1-4019-B069-13C96BC87993}"/>
                </a:ext>
              </a:extLst>
            </p:cNvPr>
            <p:cNvSpPr txBox="1"/>
            <p:nvPr/>
          </p:nvSpPr>
          <p:spPr>
            <a:xfrm>
              <a:off x="2257046" y="989890"/>
              <a:ext cx="1224136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0070C0"/>
                  </a:solidFill>
                </a:rPr>
                <a:t>Почему?</a:t>
              </a:r>
            </a:p>
          </p:txBody>
        </p:sp>
      </p:grp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3FD0ED0A-91E0-4C00-8776-A9513134ED66}"/>
              </a:ext>
            </a:extLst>
          </p:cNvPr>
          <p:cNvSpPr/>
          <p:nvPr/>
        </p:nvSpPr>
        <p:spPr>
          <a:xfrm>
            <a:off x="2573542" y="3337559"/>
            <a:ext cx="2153401" cy="50543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взаимодействия  с </a:t>
            </a:r>
            <a:r>
              <a:rPr lang="ru-RU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диосервером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Прямоугольник: скругленные углы 49">
            <a:extLst>
              <a:ext uri="{FF2B5EF4-FFF2-40B4-BE49-F238E27FC236}">
                <a16:creationId xmlns:a16="http://schemas.microsoft.com/office/drawing/2014/main" id="{E7C66778-37FB-45A6-AC70-F83986CCB9FE}"/>
              </a:ext>
            </a:extLst>
          </p:cNvPr>
          <p:cNvSpPr/>
          <p:nvPr/>
        </p:nvSpPr>
        <p:spPr>
          <a:xfrm>
            <a:off x="211554" y="3337559"/>
            <a:ext cx="2153401" cy="50543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специализированного оборудования</a:t>
            </a:r>
          </a:p>
        </p:txBody>
      </p:sp>
    </p:spTree>
    <p:extLst>
      <p:ext uri="{BB962C8B-B14F-4D97-AF65-F5344CB8AC3E}">
        <p14:creationId xmlns:p14="http://schemas.microsoft.com/office/powerpoint/2010/main" val="2750338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AF03D10-FBA4-40DE-8D5C-FFF8A14933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710" y="445621"/>
            <a:ext cx="8136447" cy="599456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03EE00A-E320-40DE-8994-E11ECBA6C87D}"/>
              </a:ext>
            </a:extLst>
          </p:cNvPr>
          <p:cNvSpPr txBox="1"/>
          <p:nvPr/>
        </p:nvSpPr>
        <p:spPr>
          <a:xfrm>
            <a:off x="1726284" y="1515294"/>
            <a:ext cx="14141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ациенты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871696-79CD-4A61-AF7A-E0F090D773E0}"/>
              </a:ext>
            </a:extLst>
          </p:cNvPr>
          <p:cNvSpPr txBox="1"/>
          <p:nvPr/>
        </p:nvSpPr>
        <p:spPr>
          <a:xfrm>
            <a:off x="1726283" y="2241694"/>
            <a:ext cx="619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гое ожидание госпитализаци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C14F31-DD80-45CC-B63B-A3668ABB0553}"/>
              </a:ext>
            </a:extLst>
          </p:cNvPr>
          <p:cNvSpPr txBox="1"/>
          <p:nvPr/>
        </p:nvSpPr>
        <p:spPr>
          <a:xfrm>
            <a:off x="1726285" y="2930126"/>
            <a:ext cx="619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проблеме с сердечно сосудистым заболеванием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687334D-150D-4566-94D3-B23FBFAF19A0}"/>
              </a:ext>
            </a:extLst>
          </p:cNvPr>
          <p:cNvSpPr txBox="1"/>
          <p:nvPr/>
        </p:nvSpPr>
        <p:spPr>
          <a:xfrm>
            <a:off x="1726282" y="3805199"/>
            <a:ext cx="619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вызове врача дома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5C74B0-24A0-472F-8423-D237025FF63E}"/>
              </a:ext>
            </a:extLst>
          </p:cNvPr>
          <p:cNvSpPr txBox="1"/>
          <p:nvPr/>
        </p:nvSpPr>
        <p:spPr>
          <a:xfrm>
            <a:off x="1726281" y="4777247"/>
            <a:ext cx="619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т взаимодействия с специализированным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рдиосервером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2B62E68-47C5-45E2-97E0-D0FD8DB5374B}"/>
              </a:ext>
            </a:extLst>
          </p:cNvPr>
          <p:cNvSpPr txBox="1"/>
          <p:nvPr/>
        </p:nvSpPr>
        <p:spPr>
          <a:xfrm>
            <a:off x="1726281" y="5580524"/>
            <a:ext cx="619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ладить взаимодействие с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рдиосервером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5933" y="1853848"/>
            <a:ext cx="1238250" cy="28575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990B90B-63EC-4F86-8F02-4ED54BAA05EC}"/>
              </a:ext>
            </a:extLst>
          </p:cNvPr>
          <p:cNvSpPr txBox="1"/>
          <p:nvPr/>
        </p:nvSpPr>
        <p:spPr>
          <a:xfrm>
            <a:off x="1040235" y="626515"/>
            <a:ext cx="699641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а: Долгое ожидание госпитализации при ССЗ</a:t>
            </a:r>
          </a:p>
        </p:txBody>
      </p:sp>
    </p:spTree>
    <p:extLst>
      <p:ext uri="{BB962C8B-B14F-4D97-AF65-F5344CB8AC3E}">
        <p14:creationId xmlns:p14="http://schemas.microsoft.com/office/powerpoint/2010/main" val="32966866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8862853-1330-4C9B-9E0C-786E0B8747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047" y="302005"/>
            <a:ext cx="8145906" cy="516783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1E336D-6D42-48AB-961C-AF2E9D70C3F3}"/>
              </a:ext>
            </a:extLst>
          </p:cNvPr>
          <p:cNvSpPr txBox="1"/>
          <p:nvPr/>
        </p:nvSpPr>
        <p:spPr>
          <a:xfrm>
            <a:off x="4716016" y="3933056"/>
            <a:ext cx="400154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just">
              <a:buAutoNum type="arabicPeriod"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адить взаимодействие с специализированным центром (</a:t>
            </a:r>
            <a:r>
              <a:rPr lang="ru-RU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диосервером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28600" indent="-228600" algn="just">
              <a:buAutoNum type="arabicPeriod"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ть врача неотложной помощи портативным электрокардиографом.</a:t>
            </a:r>
          </a:p>
        </p:txBody>
      </p:sp>
    </p:spTree>
    <p:extLst>
      <p:ext uri="{BB962C8B-B14F-4D97-AF65-F5344CB8AC3E}">
        <p14:creationId xmlns:p14="http://schemas.microsoft.com/office/powerpoint/2010/main" val="2413157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b-section81">
  <a:themeElements>
    <a:clrScheme name="b-section8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8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8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7_b-default">
  <a:themeElements>
    <a:clrScheme name="b-default 4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6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9E5"/>
      </a:accent5>
      <a:accent6>
        <a:srgbClr val="002C68"/>
      </a:accent6>
      <a:hlink>
        <a:srgbClr val="025EA1"/>
      </a:hlink>
      <a:folHlink>
        <a:srgbClr val="6CAEDF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-section33">
  <a:themeElements>
    <a:clrScheme name="b-section33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-section31">
  <a:themeElements>
    <a:clrScheme name="b-section3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291</TotalTime>
  <Words>905</Words>
  <Application>Microsoft Office PowerPoint</Application>
  <PresentationFormat>Экран (4:3)</PresentationFormat>
  <Paragraphs>206</Paragraphs>
  <Slides>7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34" baseType="lpstr">
      <vt:lpstr>Arial</vt:lpstr>
      <vt:lpstr>Arial (Основной текст)</vt:lpstr>
      <vt:lpstr>Calibri</vt:lpstr>
      <vt:lpstr>Calibri Light</vt:lpstr>
      <vt:lpstr>tahoma</vt:lpstr>
      <vt:lpstr>Times New Roman</vt:lpstr>
      <vt:lpstr>Wingdings</vt:lpstr>
      <vt:lpstr>b-default</vt:lpstr>
      <vt:lpstr>b-content</vt:lpstr>
      <vt:lpstr>b-section33</vt:lpstr>
      <vt:lpstr>b-section31</vt:lpstr>
      <vt:lpstr>b-section32</vt:lpstr>
      <vt:lpstr>1_b-section32</vt:lpstr>
      <vt:lpstr>2_b-section32</vt:lpstr>
      <vt:lpstr>3_b-section32</vt:lpstr>
      <vt:lpstr>1_b-default</vt:lpstr>
      <vt:lpstr>3_b-default</vt:lpstr>
      <vt:lpstr>b-section81</vt:lpstr>
      <vt:lpstr>22_b-default</vt:lpstr>
      <vt:lpstr>4_b-default</vt:lpstr>
      <vt:lpstr>10_b-default</vt:lpstr>
      <vt:lpstr>14_b-default</vt:lpstr>
      <vt:lpstr>17_b-default</vt:lpstr>
      <vt:lpstr>16_b-default</vt:lpstr>
      <vt:lpstr>2_RDM027</vt:lpstr>
      <vt:lpstr>Тема Office</vt:lpstr>
      <vt:lpstr>think-cell Slide</vt:lpstr>
      <vt:lpstr>ПСР-проект «Оптимизация процесса инструментального обследования (электрокардиография) пациентов при оказании неотложной помощи на дому»</vt:lpstr>
      <vt:lpstr>ПСР-проект «Оптимизация процесса инструментального обследования (электрокардиография) пациентов при оказании неотложной помощи на дому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Rosat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Egor Nazarov</dc:creator>
  <cp:lastModifiedBy>Пользователь</cp:lastModifiedBy>
  <cp:revision>4975</cp:revision>
  <cp:lastPrinted>2025-09-09T13:04:00Z</cp:lastPrinted>
  <dcterms:created xsi:type="dcterms:W3CDTF">2011-08-02T09:39:57Z</dcterms:created>
  <dcterms:modified xsi:type="dcterms:W3CDTF">2025-09-10T06:58:38Z</dcterms:modified>
</cp:coreProperties>
</file>